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4"/>
  </p:sldMasterIdLst>
  <p:notesMasterIdLst>
    <p:notesMasterId r:id="rId20"/>
  </p:notesMasterIdLst>
  <p:handoutMasterIdLst>
    <p:handoutMasterId r:id="rId21"/>
  </p:handoutMasterIdLst>
  <p:sldIdLst>
    <p:sldId id="256" r:id="rId5"/>
    <p:sldId id="2146847983" r:id="rId6"/>
    <p:sldId id="2146847779" r:id="rId7"/>
    <p:sldId id="312" r:id="rId8"/>
    <p:sldId id="2146846908" r:id="rId9"/>
    <p:sldId id="8112" r:id="rId10"/>
    <p:sldId id="2146847988" r:id="rId11"/>
    <p:sldId id="2146847989" r:id="rId12"/>
    <p:sldId id="2146847990" r:id="rId13"/>
    <p:sldId id="2146847995" r:id="rId14"/>
    <p:sldId id="2146847991" r:id="rId15"/>
    <p:sldId id="2146847987" r:id="rId16"/>
    <p:sldId id="2146847992" r:id="rId17"/>
    <p:sldId id="2146847993" r:id="rId18"/>
    <p:sldId id="2146847994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E8EC39-45C8-83BE-3863-1C05BC85DF67}" name="Damon Rea" initials="DR" userId="49ZZfgA9h2/G4lR4UV7OG8WNILk3jeLBr4hTfplmyT8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na Dawson" initials="JD" lastIdx="3" clrIdx="0">
    <p:extLst>
      <p:ext uri="{19B8F6BF-5375-455C-9EA6-DF929625EA0E}">
        <p15:presenceInfo xmlns:p15="http://schemas.microsoft.com/office/powerpoint/2012/main" userId="S-1-5-21-210783716-456088970-538272213-66260" providerId="AD"/>
      </p:ext>
    </p:extLst>
  </p:cmAuthor>
  <p:cmAuthor id="2" name="John Bridson" initials="JB" lastIdx="10" clrIdx="1">
    <p:extLst>
      <p:ext uri="{19B8F6BF-5375-455C-9EA6-DF929625EA0E}">
        <p15:presenceInfo xmlns:p15="http://schemas.microsoft.com/office/powerpoint/2012/main" userId="S-1-5-21-210783716-456088970-538272213-64224" providerId="AD"/>
      </p:ext>
    </p:extLst>
  </p:cmAuthor>
  <p:cmAuthor id="3" name="Jana Dawson" initials="JD [2]" lastIdx="4" clrIdx="2">
    <p:extLst>
      <p:ext uri="{19B8F6BF-5375-455C-9EA6-DF929625EA0E}">
        <p15:presenceInfo xmlns:p15="http://schemas.microsoft.com/office/powerpoint/2012/main" userId="S::Jana.Dawson@evergy.com::257d5a4a-8a48-46d4-9ada-089e40e57d65" providerId="AD"/>
      </p:ext>
    </p:extLst>
  </p:cmAuthor>
  <p:cmAuthor id="4" name="Shane Batchelder" initials="SB" lastIdx="3" clrIdx="3">
    <p:extLst>
      <p:ext uri="{19B8F6BF-5375-455C-9EA6-DF929625EA0E}">
        <p15:presenceInfo xmlns:p15="http://schemas.microsoft.com/office/powerpoint/2012/main" userId="S::shane.batchelder@evergy.com::545df938-4562-4704-b536-1bc74dbbe69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4F88FD6-DAB1-4E1C-9B64-E460ABC86BAD}" v="134" dt="2023-11-03T17:41:53.9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9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McGinnis" userId="1199bbbd-9de4-4f79-bfe4-5388e34fe8e8" providerId="ADAL" clId="{94F88FD6-DAB1-4E1C-9B64-E460ABC86BAD}"/>
    <pc:docChg chg="undo custSel addSld delSld modSld sldOrd modMainMaster">
      <pc:chgData name="Kevin McGinnis" userId="1199bbbd-9de4-4f79-bfe4-5388e34fe8e8" providerId="ADAL" clId="{94F88FD6-DAB1-4E1C-9B64-E460ABC86BAD}" dt="2023-11-03T19:38:47.873" v="1964" actId="20577"/>
      <pc:docMkLst>
        <pc:docMk/>
      </pc:docMkLst>
      <pc:sldChg chg="addSp delSp modSp mod">
        <pc:chgData name="Kevin McGinnis" userId="1199bbbd-9de4-4f79-bfe4-5388e34fe8e8" providerId="ADAL" clId="{94F88FD6-DAB1-4E1C-9B64-E460ABC86BAD}" dt="2023-11-03T17:41:53.991" v="1948" actId="1076"/>
        <pc:sldMkLst>
          <pc:docMk/>
          <pc:sldMk cId="1315844501" sldId="256"/>
        </pc:sldMkLst>
        <pc:spChg chg="mod">
          <ac:chgData name="Kevin McGinnis" userId="1199bbbd-9de4-4f79-bfe4-5388e34fe8e8" providerId="ADAL" clId="{94F88FD6-DAB1-4E1C-9B64-E460ABC86BAD}" dt="2023-11-03T14:07:20.904" v="46" actId="20577"/>
          <ac:spMkLst>
            <pc:docMk/>
            <pc:sldMk cId="1315844501" sldId="256"/>
            <ac:spMk id="4" creationId="{00000000-0000-0000-0000-000000000000}"/>
          </ac:spMkLst>
        </pc:spChg>
        <pc:spChg chg="mod">
          <ac:chgData name="Kevin McGinnis" userId="1199bbbd-9de4-4f79-bfe4-5388e34fe8e8" providerId="ADAL" clId="{94F88FD6-DAB1-4E1C-9B64-E460ABC86BAD}" dt="2023-11-03T14:07:31.905" v="57" actId="20577"/>
          <ac:spMkLst>
            <pc:docMk/>
            <pc:sldMk cId="1315844501" sldId="256"/>
            <ac:spMk id="5" creationId="{00000000-0000-0000-0000-000000000000}"/>
          </ac:spMkLst>
        </pc:spChg>
        <pc:picChg chg="add del mod">
          <ac:chgData name="Kevin McGinnis" userId="1199bbbd-9de4-4f79-bfe4-5388e34fe8e8" providerId="ADAL" clId="{94F88FD6-DAB1-4E1C-9B64-E460ABC86BAD}" dt="2023-11-03T17:41:43.244" v="1944" actId="478"/>
          <ac:picMkLst>
            <pc:docMk/>
            <pc:sldMk cId="1315844501" sldId="256"/>
            <ac:picMk id="5122" creationId="{D680A249-29B7-EB01-AC28-AC4E5F7E6CC7}"/>
          </ac:picMkLst>
        </pc:picChg>
        <pc:picChg chg="add mod">
          <ac:chgData name="Kevin McGinnis" userId="1199bbbd-9de4-4f79-bfe4-5388e34fe8e8" providerId="ADAL" clId="{94F88FD6-DAB1-4E1C-9B64-E460ABC86BAD}" dt="2023-11-03T17:41:53.991" v="1948" actId="1076"/>
          <ac:picMkLst>
            <pc:docMk/>
            <pc:sldMk cId="1315844501" sldId="256"/>
            <ac:picMk id="5124" creationId="{233365FF-3FEA-A832-FDDE-0F8CA1C6E8C4}"/>
          </ac:picMkLst>
        </pc:picChg>
      </pc:sldChg>
      <pc:sldChg chg="del">
        <pc:chgData name="Kevin McGinnis" userId="1199bbbd-9de4-4f79-bfe4-5388e34fe8e8" providerId="ADAL" clId="{94F88FD6-DAB1-4E1C-9B64-E460ABC86BAD}" dt="2023-11-03T14:20:03.625" v="264" actId="47"/>
        <pc:sldMkLst>
          <pc:docMk/>
          <pc:sldMk cId="2409384957" sldId="290"/>
        </pc:sldMkLst>
      </pc:sldChg>
      <pc:sldChg chg="del">
        <pc:chgData name="Kevin McGinnis" userId="1199bbbd-9de4-4f79-bfe4-5388e34fe8e8" providerId="ADAL" clId="{94F88FD6-DAB1-4E1C-9B64-E460ABC86BAD}" dt="2023-11-03T14:20:00.365" v="263" actId="47"/>
        <pc:sldMkLst>
          <pc:docMk/>
          <pc:sldMk cId="3007940878" sldId="304"/>
        </pc:sldMkLst>
      </pc:sldChg>
      <pc:sldChg chg="modSp mod">
        <pc:chgData name="Kevin McGinnis" userId="1199bbbd-9de4-4f79-bfe4-5388e34fe8e8" providerId="ADAL" clId="{94F88FD6-DAB1-4E1C-9B64-E460ABC86BAD}" dt="2023-11-03T14:19:43.537" v="258"/>
        <pc:sldMkLst>
          <pc:docMk/>
          <pc:sldMk cId="1309494793" sldId="312"/>
        </pc:sldMkLst>
        <pc:spChg chg="mod">
          <ac:chgData name="Kevin McGinnis" userId="1199bbbd-9de4-4f79-bfe4-5388e34fe8e8" providerId="ADAL" clId="{94F88FD6-DAB1-4E1C-9B64-E460ABC86BAD}" dt="2023-11-03T14:19:43.537" v="258"/>
          <ac:spMkLst>
            <pc:docMk/>
            <pc:sldMk cId="1309494793" sldId="312"/>
            <ac:spMk id="5" creationId="{7B2D12AB-56B1-4F1A-939C-852E60FE0FBA}"/>
          </ac:spMkLst>
        </pc:spChg>
      </pc:sldChg>
      <pc:sldChg chg="modSp del mod">
        <pc:chgData name="Kevin McGinnis" userId="1199bbbd-9de4-4f79-bfe4-5388e34fe8e8" providerId="ADAL" clId="{94F88FD6-DAB1-4E1C-9B64-E460ABC86BAD}" dt="2023-11-03T14:46:03.615" v="663" actId="47"/>
        <pc:sldMkLst>
          <pc:docMk/>
          <pc:sldMk cId="3652277874" sldId="8070"/>
        </pc:sldMkLst>
        <pc:spChg chg="mod">
          <ac:chgData name="Kevin McGinnis" userId="1199bbbd-9de4-4f79-bfe4-5388e34fe8e8" providerId="ADAL" clId="{94F88FD6-DAB1-4E1C-9B64-E460ABC86BAD}" dt="2023-11-03T14:19:57.389" v="262"/>
          <ac:spMkLst>
            <pc:docMk/>
            <pc:sldMk cId="3652277874" sldId="8070"/>
            <ac:spMk id="4" creationId="{3357CEF0-BF1B-2107-77B8-DEE39C402DA5}"/>
          </ac:spMkLst>
        </pc:spChg>
      </pc:sldChg>
      <pc:sldChg chg="modSp mod ord">
        <pc:chgData name="Kevin McGinnis" userId="1199bbbd-9de4-4f79-bfe4-5388e34fe8e8" providerId="ADAL" clId="{94F88FD6-DAB1-4E1C-9B64-E460ABC86BAD}" dt="2023-11-03T16:25:37.712" v="1867"/>
        <pc:sldMkLst>
          <pc:docMk/>
          <pc:sldMk cId="4232731987" sldId="8112"/>
        </pc:sldMkLst>
        <pc:spChg chg="mod">
          <ac:chgData name="Kevin McGinnis" userId="1199bbbd-9de4-4f79-bfe4-5388e34fe8e8" providerId="ADAL" clId="{94F88FD6-DAB1-4E1C-9B64-E460ABC86BAD}" dt="2023-11-03T14:19:53.784" v="261"/>
          <ac:spMkLst>
            <pc:docMk/>
            <pc:sldMk cId="4232731987" sldId="8112"/>
            <ac:spMk id="29" creationId="{4A80E17F-8EBA-467D-9FD6-5C96D8BDFA04}"/>
          </ac:spMkLst>
        </pc:spChg>
      </pc:sldChg>
      <pc:sldChg chg="addSp delSp modSp del mod modClrScheme chgLayout">
        <pc:chgData name="Kevin McGinnis" userId="1199bbbd-9de4-4f79-bfe4-5388e34fe8e8" providerId="ADAL" clId="{94F88FD6-DAB1-4E1C-9B64-E460ABC86BAD}" dt="2023-11-03T15:35:56.625" v="1207" actId="47"/>
        <pc:sldMkLst>
          <pc:docMk/>
          <pc:sldMk cId="2892660678" sldId="2141413930"/>
        </pc:sldMkLst>
        <pc:spChg chg="mod ord">
          <ac:chgData name="Kevin McGinnis" userId="1199bbbd-9de4-4f79-bfe4-5388e34fe8e8" providerId="ADAL" clId="{94F88FD6-DAB1-4E1C-9B64-E460ABC86BAD}" dt="2023-11-03T15:35:30.523" v="1186" actId="700"/>
          <ac:spMkLst>
            <pc:docMk/>
            <pc:sldMk cId="2892660678" sldId="2141413930"/>
            <ac:spMk id="2" creationId="{9085A550-6840-498B-9D47-D552BBD9BEF4}"/>
          </ac:spMkLst>
        </pc:spChg>
        <pc:spChg chg="add del mod ord">
          <ac:chgData name="Kevin McGinnis" userId="1199bbbd-9de4-4f79-bfe4-5388e34fe8e8" providerId="ADAL" clId="{94F88FD6-DAB1-4E1C-9B64-E460ABC86BAD}" dt="2023-11-03T15:35:34.136" v="1187" actId="478"/>
          <ac:spMkLst>
            <pc:docMk/>
            <pc:sldMk cId="2892660678" sldId="2141413930"/>
            <ac:spMk id="3" creationId="{96688281-E2A7-BD52-567A-398F17084949}"/>
          </ac:spMkLst>
        </pc:spChg>
        <pc:picChg chg="mod">
          <ac:chgData name="Kevin McGinnis" userId="1199bbbd-9de4-4f79-bfe4-5388e34fe8e8" providerId="ADAL" clId="{94F88FD6-DAB1-4E1C-9B64-E460ABC86BAD}" dt="2023-11-03T15:03:52.209" v="862" actId="14826"/>
          <ac:picMkLst>
            <pc:docMk/>
            <pc:sldMk cId="2892660678" sldId="2141413930"/>
            <ac:picMk id="4" creationId="{CD9963A5-9FA9-403A-8797-9B5F6149A453}"/>
          </ac:picMkLst>
        </pc:picChg>
      </pc:sldChg>
      <pc:sldChg chg="delSp modSp add del mod">
        <pc:chgData name="Kevin McGinnis" userId="1199bbbd-9de4-4f79-bfe4-5388e34fe8e8" providerId="ADAL" clId="{94F88FD6-DAB1-4E1C-9B64-E460ABC86BAD}" dt="2023-11-03T15:38:18.233" v="1285" actId="47"/>
        <pc:sldMkLst>
          <pc:docMk/>
          <pc:sldMk cId="1158822222" sldId="2141413931"/>
        </pc:sldMkLst>
        <pc:picChg chg="del mod modCrop">
          <ac:chgData name="Kevin McGinnis" userId="1199bbbd-9de4-4f79-bfe4-5388e34fe8e8" providerId="ADAL" clId="{94F88FD6-DAB1-4E1C-9B64-E460ABC86BAD}" dt="2023-11-03T15:37:20.089" v="1260" actId="21"/>
          <ac:picMkLst>
            <pc:docMk/>
            <pc:sldMk cId="1158822222" sldId="2141413931"/>
            <ac:picMk id="5" creationId="{41CA7209-F81A-48CB-97EF-E98F2FE92CB6}"/>
          </ac:picMkLst>
        </pc:picChg>
      </pc:sldChg>
      <pc:sldChg chg="delSp modSp mod">
        <pc:chgData name="Kevin McGinnis" userId="1199bbbd-9de4-4f79-bfe4-5388e34fe8e8" providerId="ADAL" clId="{94F88FD6-DAB1-4E1C-9B64-E460ABC86BAD}" dt="2023-11-03T15:03:33.552" v="860"/>
        <pc:sldMkLst>
          <pc:docMk/>
          <pc:sldMk cId="2768007806" sldId="2146846908"/>
        </pc:sldMkLst>
        <pc:spChg chg="mod">
          <ac:chgData name="Kevin McGinnis" userId="1199bbbd-9de4-4f79-bfe4-5388e34fe8e8" providerId="ADAL" clId="{94F88FD6-DAB1-4E1C-9B64-E460ABC86BAD}" dt="2023-11-03T14:19:51.147" v="260"/>
          <ac:spMkLst>
            <pc:docMk/>
            <pc:sldMk cId="2768007806" sldId="2146846908"/>
            <ac:spMk id="19" creationId="{076F89E2-E0DD-3B6F-4956-1FD6E232613C}"/>
          </ac:spMkLst>
        </pc:spChg>
        <pc:picChg chg="del">
          <ac:chgData name="Kevin McGinnis" userId="1199bbbd-9de4-4f79-bfe4-5388e34fe8e8" providerId="ADAL" clId="{94F88FD6-DAB1-4E1C-9B64-E460ABC86BAD}" dt="2023-11-03T15:03:27.986" v="859"/>
          <ac:picMkLst>
            <pc:docMk/>
            <pc:sldMk cId="2768007806" sldId="2146846908"/>
            <ac:picMk id="2" creationId="{1C9438E8-78E3-7FA4-BBBB-23C0C1D4B57D}"/>
          </ac:picMkLst>
        </pc:picChg>
        <pc:picChg chg="mod modCrop">
          <ac:chgData name="Kevin McGinnis" userId="1199bbbd-9de4-4f79-bfe4-5388e34fe8e8" providerId="ADAL" clId="{94F88FD6-DAB1-4E1C-9B64-E460ABC86BAD}" dt="2023-11-03T14:21:47.484" v="265" actId="732"/>
          <ac:picMkLst>
            <pc:docMk/>
            <pc:sldMk cId="2768007806" sldId="2146846908"/>
            <ac:picMk id="3" creationId="{180255E5-607A-204E-A62A-C5D8424FB3CE}"/>
          </ac:picMkLst>
        </pc:picChg>
        <pc:picChg chg="del">
          <ac:chgData name="Kevin McGinnis" userId="1199bbbd-9de4-4f79-bfe4-5388e34fe8e8" providerId="ADAL" clId="{94F88FD6-DAB1-4E1C-9B64-E460ABC86BAD}" dt="2023-11-03T15:03:33.552" v="860"/>
          <ac:picMkLst>
            <pc:docMk/>
            <pc:sldMk cId="2768007806" sldId="2146846908"/>
            <ac:picMk id="4" creationId="{C5AC0D85-4E73-B974-AF6F-F0AD49D0F208}"/>
          </ac:picMkLst>
        </pc:picChg>
      </pc:sldChg>
      <pc:sldChg chg="modSp del mod">
        <pc:chgData name="Kevin McGinnis" userId="1199bbbd-9de4-4f79-bfe4-5388e34fe8e8" providerId="ADAL" clId="{94F88FD6-DAB1-4E1C-9B64-E460ABC86BAD}" dt="2023-11-03T14:46:16.473" v="664" actId="47"/>
        <pc:sldMkLst>
          <pc:docMk/>
          <pc:sldMk cId="1390974104" sldId="2146847778"/>
        </pc:sldMkLst>
        <pc:spChg chg="mod">
          <ac:chgData name="Kevin McGinnis" userId="1199bbbd-9de4-4f79-bfe4-5388e34fe8e8" providerId="ADAL" clId="{94F88FD6-DAB1-4E1C-9B64-E460ABC86BAD}" dt="2023-11-03T14:19:48.332" v="259"/>
          <ac:spMkLst>
            <pc:docMk/>
            <pc:sldMk cId="1390974104" sldId="2146847778"/>
            <ac:spMk id="5" creationId="{7B2D12AB-56B1-4F1A-939C-852E60FE0FBA}"/>
          </ac:spMkLst>
        </pc:spChg>
      </pc:sldChg>
      <pc:sldChg chg="modSp mod">
        <pc:chgData name="Kevin McGinnis" userId="1199bbbd-9de4-4f79-bfe4-5388e34fe8e8" providerId="ADAL" clId="{94F88FD6-DAB1-4E1C-9B64-E460ABC86BAD}" dt="2023-11-03T14:18:38.481" v="257" actId="20577"/>
        <pc:sldMkLst>
          <pc:docMk/>
          <pc:sldMk cId="2231832896" sldId="2146847779"/>
        </pc:sldMkLst>
        <pc:spChg chg="mod">
          <ac:chgData name="Kevin McGinnis" userId="1199bbbd-9de4-4f79-bfe4-5388e34fe8e8" providerId="ADAL" clId="{94F88FD6-DAB1-4E1C-9B64-E460ABC86BAD}" dt="2023-11-03T14:18:38.481" v="257" actId="20577"/>
          <ac:spMkLst>
            <pc:docMk/>
            <pc:sldMk cId="2231832896" sldId="2146847779"/>
            <ac:spMk id="5" creationId="{201E636F-E531-39A2-A1FE-CDDECA6A21D3}"/>
          </ac:spMkLst>
        </pc:spChg>
      </pc:sldChg>
      <pc:sldChg chg="addSp modSp add mod modClrScheme chgLayout">
        <pc:chgData name="Kevin McGinnis" userId="1199bbbd-9de4-4f79-bfe4-5388e34fe8e8" providerId="ADAL" clId="{94F88FD6-DAB1-4E1C-9B64-E460ABC86BAD}" dt="2023-11-03T19:38:47.873" v="1964" actId="20577"/>
        <pc:sldMkLst>
          <pc:docMk/>
          <pc:sldMk cId="1997162472" sldId="2146847983"/>
        </pc:sldMkLst>
        <pc:spChg chg="mod ord">
          <ac:chgData name="Kevin McGinnis" userId="1199bbbd-9de4-4f79-bfe4-5388e34fe8e8" providerId="ADAL" clId="{94F88FD6-DAB1-4E1C-9B64-E460ABC86BAD}" dt="2023-11-03T15:34:35.484" v="1184" actId="700"/>
          <ac:spMkLst>
            <pc:docMk/>
            <pc:sldMk cId="1997162472" sldId="2146847983"/>
            <ac:spMk id="2" creationId="{E35B6FE4-5BC5-CCE7-F5A9-9143C0CA9749}"/>
          </ac:spMkLst>
        </pc:spChg>
        <pc:spChg chg="mod ord">
          <ac:chgData name="Kevin McGinnis" userId="1199bbbd-9de4-4f79-bfe4-5388e34fe8e8" providerId="ADAL" clId="{94F88FD6-DAB1-4E1C-9B64-E460ABC86BAD}" dt="2023-11-03T15:34:35.484" v="1184" actId="700"/>
          <ac:spMkLst>
            <pc:docMk/>
            <pc:sldMk cId="1997162472" sldId="2146847983"/>
            <ac:spMk id="3" creationId="{B758AE13-B2F1-C4AB-029B-6DA9ECE3DA77}"/>
          </ac:spMkLst>
        </pc:spChg>
        <pc:spChg chg="add mod">
          <ac:chgData name="Kevin McGinnis" userId="1199bbbd-9de4-4f79-bfe4-5388e34fe8e8" providerId="ADAL" clId="{94F88FD6-DAB1-4E1C-9B64-E460ABC86BAD}" dt="2023-11-03T15:34:48.314" v="1185"/>
          <ac:spMkLst>
            <pc:docMk/>
            <pc:sldMk cId="1997162472" sldId="2146847983"/>
            <ac:spMk id="4" creationId="{C56766EB-9DE3-C075-6C2C-90403AB30D66}"/>
          </ac:spMkLst>
        </pc:spChg>
        <pc:spChg chg="mod ord">
          <ac:chgData name="Kevin McGinnis" userId="1199bbbd-9de4-4f79-bfe4-5388e34fe8e8" providerId="ADAL" clId="{94F88FD6-DAB1-4E1C-9B64-E460ABC86BAD}" dt="2023-11-03T19:38:47.873" v="1964" actId="20577"/>
          <ac:spMkLst>
            <pc:docMk/>
            <pc:sldMk cId="1997162472" sldId="2146847983"/>
            <ac:spMk id="7" creationId="{385F7DD9-F9D9-ABE3-A3E4-9D19946962A1}"/>
          </ac:spMkLst>
        </pc:spChg>
      </pc:sldChg>
      <pc:sldChg chg="delSp modSp add del mod">
        <pc:chgData name="Kevin McGinnis" userId="1199bbbd-9de4-4f79-bfe4-5388e34fe8e8" providerId="ADAL" clId="{94F88FD6-DAB1-4E1C-9B64-E460ABC86BAD}" dt="2023-11-03T15:31:32.254" v="1148" actId="47"/>
        <pc:sldMkLst>
          <pc:docMk/>
          <pc:sldMk cId="3768939001" sldId="2146847984"/>
        </pc:sldMkLst>
        <pc:spChg chg="mod">
          <ac:chgData name="Kevin McGinnis" userId="1199bbbd-9de4-4f79-bfe4-5388e34fe8e8" providerId="ADAL" clId="{94F88FD6-DAB1-4E1C-9B64-E460ABC86BAD}" dt="2023-11-03T14:39:34.569" v="605" actId="20577"/>
          <ac:spMkLst>
            <pc:docMk/>
            <pc:sldMk cId="3768939001" sldId="2146847984"/>
            <ac:spMk id="2" creationId="{E35B6FE4-5BC5-CCE7-F5A9-9143C0CA9749}"/>
          </ac:spMkLst>
        </pc:spChg>
        <pc:spChg chg="del">
          <ac:chgData name="Kevin McGinnis" userId="1199bbbd-9de4-4f79-bfe4-5388e34fe8e8" providerId="ADAL" clId="{94F88FD6-DAB1-4E1C-9B64-E460ABC86BAD}" dt="2023-11-03T15:06:43.887" v="869" actId="478"/>
          <ac:spMkLst>
            <pc:docMk/>
            <pc:sldMk cId="3768939001" sldId="2146847984"/>
            <ac:spMk id="3" creationId="{B758AE13-B2F1-C4AB-029B-6DA9ECE3DA77}"/>
          </ac:spMkLst>
        </pc:spChg>
        <pc:spChg chg="mod">
          <ac:chgData name="Kevin McGinnis" userId="1199bbbd-9de4-4f79-bfe4-5388e34fe8e8" providerId="ADAL" clId="{94F88FD6-DAB1-4E1C-9B64-E460ABC86BAD}" dt="2023-11-03T14:39:42.887" v="631" actId="20577"/>
          <ac:spMkLst>
            <pc:docMk/>
            <pc:sldMk cId="3768939001" sldId="2146847984"/>
            <ac:spMk id="7" creationId="{385F7DD9-F9D9-ABE3-A3E4-9D19946962A1}"/>
          </ac:spMkLst>
        </pc:spChg>
      </pc:sldChg>
      <pc:sldChg chg="add del">
        <pc:chgData name="Kevin McGinnis" userId="1199bbbd-9de4-4f79-bfe4-5388e34fe8e8" providerId="ADAL" clId="{94F88FD6-DAB1-4E1C-9B64-E460ABC86BAD}" dt="2023-11-03T15:37:10.413" v="1258" actId="47"/>
        <pc:sldMkLst>
          <pc:docMk/>
          <pc:sldMk cId="254062361" sldId="2146847985"/>
        </pc:sldMkLst>
      </pc:sldChg>
      <pc:sldChg chg="modSp new del mod">
        <pc:chgData name="Kevin McGinnis" userId="1199bbbd-9de4-4f79-bfe4-5388e34fe8e8" providerId="ADAL" clId="{94F88FD6-DAB1-4E1C-9B64-E460ABC86BAD}" dt="2023-11-03T14:51:20.850" v="831" actId="2696"/>
        <pc:sldMkLst>
          <pc:docMk/>
          <pc:sldMk cId="1498906677" sldId="2146847985"/>
        </pc:sldMkLst>
        <pc:spChg chg="mod">
          <ac:chgData name="Kevin McGinnis" userId="1199bbbd-9de4-4f79-bfe4-5388e34fe8e8" providerId="ADAL" clId="{94F88FD6-DAB1-4E1C-9B64-E460ABC86BAD}" dt="2023-11-03T14:51:17.086" v="830" actId="20577"/>
          <ac:spMkLst>
            <pc:docMk/>
            <pc:sldMk cId="1498906677" sldId="2146847985"/>
            <ac:spMk id="3" creationId="{66D7E749-9FC9-D0B8-55F0-D584AFC11E60}"/>
          </ac:spMkLst>
        </pc:spChg>
      </pc:sldChg>
      <pc:sldChg chg="delSp modSp new del mod">
        <pc:chgData name="Kevin McGinnis" userId="1199bbbd-9de4-4f79-bfe4-5388e34fe8e8" providerId="ADAL" clId="{94F88FD6-DAB1-4E1C-9B64-E460ABC86BAD}" dt="2023-11-03T14:59:19.123" v="858" actId="47"/>
        <pc:sldMkLst>
          <pc:docMk/>
          <pc:sldMk cId="2802667553" sldId="2146847985"/>
        </pc:sldMkLst>
        <pc:spChg chg="mod">
          <ac:chgData name="Kevin McGinnis" userId="1199bbbd-9de4-4f79-bfe4-5388e34fe8e8" providerId="ADAL" clId="{94F88FD6-DAB1-4E1C-9B64-E460ABC86BAD}" dt="2023-11-03T14:51:34.664" v="856" actId="20577"/>
          <ac:spMkLst>
            <pc:docMk/>
            <pc:sldMk cId="2802667553" sldId="2146847985"/>
            <ac:spMk id="2" creationId="{722BA053-9229-2370-E23A-E25C2C3D897A}"/>
          </ac:spMkLst>
        </pc:spChg>
        <pc:spChg chg="del">
          <ac:chgData name="Kevin McGinnis" userId="1199bbbd-9de4-4f79-bfe4-5388e34fe8e8" providerId="ADAL" clId="{94F88FD6-DAB1-4E1C-9B64-E460ABC86BAD}" dt="2023-11-03T14:51:41.860" v="857" actId="478"/>
          <ac:spMkLst>
            <pc:docMk/>
            <pc:sldMk cId="2802667553" sldId="2146847985"/>
            <ac:spMk id="3" creationId="{751E86A7-A263-2ADE-9F1B-F2801BA2323E}"/>
          </ac:spMkLst>
        </pc:spChg>
      </pc:sldChg>
      <pc:sldChg chg="addSp delSp modSp add del mod">
        <pc:chgData name="Kevin McGinnis" userId="1199bbbd-9de4-4f79-bfe4-5388e34fe8e8" providerId="ADAL" clId="{94F88FD6-DAB1-4E1C-9B64-E460ABC86BAD}" dt="2023-11-03T15:36:32.909" v="1232" actId="47"/>
        <pc:sldMkLst>
          <pc:docMk/>
          <pc:sldMk cId="664202315" sldId="2146847986"/>
        </pc:sldMkLst>
        <pc:spChg chg="mod">
          <ac:chgData name="Kevin McGinnis" userId="1199bbbd-9de4-4f79-bfe4-5388e34fe8e8" providerId="ADAL" clId="{94F88FD6-DAB1-4E1C-9B64-E460ABC86BAD}" dt="2023-11-03T15:28:21.736" v="919" actId="20577"/>
          <ac:spMkLst>
            <pc:docMk/>
            <pc:sldMk cId="664202315" sldId="2146847986"/>
            <ac:spMk id="2" creationId="{9085A550-6840-498B-9D47-D552BBD9BEF4}"/>
          </ac:spMkLst>
        </pc:spChg>
        <pc:picChg chg="del">
          <ac:chgData name="Kevin McGinnis" userId="1199bbbd-9de4-4f79-bfe4-5388e34fe8e8" providerId="ADAL" clId="{94F88FD6-DAB1-4E1C-9B64-E460ABC86BAD}" dt="2023-11-03T15:25:46.844" v="871" actId="478"/>
          <ac:picMkLst>
            <pc:docMk/>
            <pc:sldMk cId="664202315" sldId="2146847986"/>
            <ac:picMk id="4" creationId="{CD9963A5-9FA9-403A-8797-9B5F6149A453}"/>
          </ac:picMkLst>
        </pc:picChg>
        <pc:picChg chg="add mod">
          <ac:chgData name="Kevin McGinnis" userId="1199bbbd-9de4-4f79-bfe4-5388e34fe8e8" providerId="ADAL" clId="{94F88FD6-DAB1-4E1C-9B64-E460ABC86BAD}" dt="2023-11-03T15:27:10.446" v="883" actId="1076"/>
          <ac:picMkLst>
            <pc:docMk/>
            <pc:sldMk cId="664202315" sldId="2146847986"/>
            <ac:picMk id="1026" creationId="{4A3493E3-38D2-A870-CA94-8B501A3526B0}"/>
          </ac:picMkLst>
        </pc:picChg>
      </pc:sldChg>
      <pc:sldChg chg="addSp delSp modSp mod">
        <pc:chgData name="Kevin McGinnis" userId="1199bbbd-9de4-4f79-bfe4-5388e34fe8e8" providerId="ADAL" clId="{94F88FD6-DAB1-4E1C-9B64-E460ABC86BAD}" dt="2023-11-03T15:38:30.473" v="1286"/>
        <pc:sldMkLst>
          <pc:docMk/>
          <pc:sldMk cId="1293707792" sldId="2146847987"/>
        </pc:sldMkLst>
        <pc:spChg chg="mod">
          <ac:chgData name="Kevin McGinnis" userId="1199bbbd-9de4-4f79-bfe4-5388e34fe8e8" providerId="ADAL" clId="{94F88FD6-DAB1-4E1C-9B64-E460ABC86BAD}" dt="2023-11-03T15:29:51.173" v="976" actId="20577"/>
          <ac:spMkLst>
            <pc:docMk/>
            <pc:sldMk cId="1293707792" sldId="2146847987"/>
            <ac:spMk id="2" creationId="{29F4B00A-6E8D-4241-B5B1-E732844FEE11}"/>
          </ac:spMkLst>
        </pc:spChg>
        <pc:spChg chg="add 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3" creationId="{61112145-6948-5D93-5455-9603E9011702}"/>
          </ac:spMkLst>
        </pc:spChg>
        <pc:spChg chg="add mod">
          <ac:chgData name="Kevin McGinnis" userId="1199bbbd-9de4-4f79-bfe4-5388e34fe8e8" providerId="ADAL" clId="{94F88FD6-DAB1-4E1C-9B64-E460ABC86BAD}" dt="2023-11-03T15:38:30.473" v="1286"/>
          <ac:spMkLst>
            <pc:docMk/>
            <pc:sldMk cId="1293707792" sldId="2146847987"/>
            <ac:spMk id="5" creationId="{263E91F2-D670-EA02-DE6A-6654C2A5B666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19" creationId="{919AC8D8-4AB6-4D39-BCA8-7B69B4DC66CF}"/>
          </ac:spMkLst>
        </pc:spChg>
        <pc:spChg chg="del mod">
          <ac:chgData name="Kevin McGinnis" userId="1199bbbd-9de4-4f79-bfe4-5388e34fe8e8" providerId="ADAL" clId="{94F88FD6-DAB1-4E1C-9B64-E460ABC86BAD}" dt="2023-11-03T15:30:23.836" v="1043" actId="478"/>
          <ac:spMkLst>
            <pc:docMk/>
            <pc:sldMk cId="1293707792" sldId="2146847987"/>
            <ac:spMk id="21" creationId="{D3836364-73B2-401E-99A2-70B9AAEE4D30}"/>
          </ac:spMkLst>
        </pc:spChg>
        <pc:spChg chg="mod">
          <ac:chgData name="Kevin McGinnis" userId="1199bbbd-9de4-4f79-bfe4-5388e34fe8e8" providerId="ADAL" clId="{94F88FD6-DAB1-4E1C-9B64-E460ABC86BAD}" dt="2023-11-03T15:31:23.508" v="1147" actId="465"/>
          <ac:spMkLst>
            <pc:docMk/>
            <pc:sldMk cId="1293707792" sldId="2146847987"/>
            <ac:spMk id="23" creationId="{D46B8E27-EA27-4DC8-B197-86B7A4C7365F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25" creationId="{D0E94FDB-DE9B-4E0A-A4C1-A3AC1764BC23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33" creationId="{9AEA2FC7-A8E6-4075-910F-31D3BA36EF95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34" creationId="{41F98063-956E-4E2D-8CC2-E659378583EE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35" creationId="{DC618215-5A57-4B0B-8254-654A38778296}"/>
          </ac:spMkLst>
        </pc:spChg>
        <pc:spChg chg="del">
          <ac:chgData name="Kevin McGinnis" userId="1199bbbd-9de4-4f79-bfe4-5388e34fe8e8" providerId="ADAL" clId="{94F88FD6-DAB1-4E1C-9B64-E460ABC86BAD}" dt="2023-11-03T15:30:21.786" v="1042" actId="478"/>
          <ac:spMkLst>
            <pc:docMk/>
            <pc:sldMk cId="1293707792" sldId="2146847987"/>
            <ac:spMk id="36" creationId="{5A17252A-9440-4C7C-9A06-8A3A56472DF1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37" creationId="{CE9E9DB1-8BA0-4E77-BD55-B0644950A96E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38" creationId="{4E803EF7-D7EA-4216-B885-A083CD2852DA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39" creationId="{F43152DE-EDEA-4AEF-9A2D-0B1FC9BE8615}"/>
          </ac:spMkLst>
        </pc:spChg>
        <pc:spChg chg="mod">
          <ac:chgData name="Kevin McGinnis" userId="1199bbbd-9de4-4f79-bfe4-5388e34fe8e8" providerId="ADAL" clId="{94F88FD6-DAB1-4E1C-9B64-E460ABC86BAD}" dt="2023-11-03T15:31:12.049" v="1146" actId="571"/>
          <ac:spMkLst>
            <pc:docMk/>
            <pc:sldMk cId="1293707792" sldId="2146847987"/>
            <ac:spMk id="40" creationId="{172A3498-46BF-440E-956C-A63BDCB66982}"/>
          </ac:spMkLst>
        </pc:spChg>
        <pc:spChg chg="mod">
          <ac:chgData name="Kevin McGinnis" userId="1199bbbd-9de4-4f79-bfe4-5388e34fe8e8" providerId="ADAL" clId="{94F88FD6-DAB1-4E1C-9B64-E460ABC86BAD}" dt="2023-11-03T15:31:46.426" v="1149" actId="1076"/>
          <ac:spMkLst>
            <pc:docMk/>
            <pc:sldMk cId="1293707792" sldId="2146847987"/>
            <ac:spMk id="49" creationId="{0EC7E153-4B2A-47AE-93ED-6A16B3656F99}"/>
          </ac:spMkLst>
        </pc:spChg>
        <pc:grpChg chg="mod">
          <ac:chgData name="Kevin McGinnis" userId="1199bbbd-9de4-4f79-bfe4-5388e34fe8e8" providerId="ADAL" clId="{94F88FD6-DAB1-4E1C-9B64-E460ABC86BAD}" dt="2023-11-03T15:31:46.426" v="1149" actId="1076"/>
          <ac:grpSpMkLst>
            <pc:docMk/>
            <pc:sldMk cId="1293707792" sldId="2146847987"/>
            <ac:grpSpMk id="17" creationId="{DBE3E55D-303D-46E5-8D9E-186D19976CF3}"/>
          </ac:grpSpMkLst>
        </pc:grpChg>
        <pc:grpChg chg="mod">
          <ac:chgData name="Kevin McGinnis" userId="1199bbbd-9de4-4f79-bfe4-5388e34fe8e8" providerId="ADAL" clId="{94F88FD6-DAB1-4E1C-9B64-E460ABC86BAD}" dt="2023-11-03T15:31:12.049" v="1146" actId="571"/>
          <ac:grpSpMkLst>
            <pc:docMk/>
            <pc:sldMk cId="1293707792" sldId="2146847987"/>
            <ac:grpSpMk id="20" creationId="{89DC95AC-FEFA-47B0-BAC4-F0FD32AD6518}"/>
          </ac:grpSpMkLst>
        </pc:grpChg>
        <pc:grpChg chg="del">
          <ac:chgData name="Kevin McGinnis" userId="1199bbbd-9de4-4f79-bfe4-5388e34fe8e8" providerId="ADAL" clId="{94F88FD6-DAB1-4E1C-9B64-E460ABC86BAD}" dt="2023-11-03T15:30:21.786" v="1042" actId="478"/>
          <ac:grpSpMkLst>
            <pc:docMk/>
            <pc:sldMk cId="1293707792" sldId="2146847987"/>
            <ac:grpSpMk id="22" creationId="{5BA83D9B-3475-4847-9FEB-1B39454F38A2}"/>
          </ac:grpSpMkLst>
        </pc:grpChg>
        <pc:grpChg chg="mod">
          <ac:chgData name="Kevin McGinnis" userId="1199bbbd-9de4-4f79-bfe4-5388e34fe8e8" providerId="ADAL" clId="{94F88FD6-DAB1-4E1C-9B64-E460ABC86BAD}" dt="2023-11-03T15:31:12.049" v="1146" actId="571"/>
          <ac:grpSpMkLst>
            <pc:docMk/>
            <pc:sldMk cId="1293707792" sldId="2146847987"/>
            <ac:grpSpMk id="24" creationId="{90A79324-EFBA-4F2C-9A3F-5CF13CE66C18}"/>
          </ac:grpSpMkLst>
        </pc:grpChg>
        <pc:cxnChg chg="mod">
          <ac:chgData name="Kevin McGinnis" userId="1199bbbd-9de4-4f79-bfe4-5388e34fe8e8" providerId="ADAL" clId="{94F88FD6-DAB1-4E1C-9B64-E460ABC86BAD}" dt="2023-11-03T15:31:46.426" v="1149" actId="1076"/>
          <ac:cxnSpMkLst>
            <pc:docMk/>
            <pc:sldMk cId="1293707792" sldId="2146847987"/>
            <ac:cxnSpMk id="6" creationId="{23D11021-1022-4BFF-A696-A19DF5526E5F}"/>
          </ac:cxnSpMkLst>
        </pc:cxnChg>
      </pc:sldChg>
      <pc:sldChg chg="addSp delSp modSp new mod">
        <pc:chgData name="Kevin McGinnis" userId="1199bbbd-9de4-4f79-bfe4-5388e34fe8e8" providerId="ADAL" clId="{94F88FD6-DAB1-4E1C-9B64-E460ABC86BAD}" dt="2023-11-03T15:35:54.505" v="1206"/>
        <pc:sldMkLst>
          <pc:docMk/>
          <pc:sldMk cId="3559324041" sldId="2146847988"/>
        </pc:sldMkLst>
        <pc:spChg chg="mod">
          <ac:chgData name="Kevin McGinnis" userId="1199bbbd-9de4-4f79-bfe4-5388e34fe8e8" providerId="ADAL" clId="{94F88FD6-DAB1-4E1C-9B64-E460ABC86BAD}" dt="2023-11-03T15:35:49.903" v="1205" actId="20577"/>
          <ac:spMkLst>
            <pc:docMk/>
            <pc:sldMk cId="3559324041" sldId="2146847988"/>
            <ac:spMk id="2" creationId="{1C4D9ED1-4801-6290-DA23-F863BABEB48E}"/>
          </ac:spMkLst>
        </pc:spChg>
        <pc:spChg chg="del">
          <ac:chgData name="Kevin McGinnis" userId="1199bbbd-9de4-4f79-bfe4-5388e34fe8e8" providerId="ADAL" clId="{94F88FD6-DAB1-4E1C-9B64-E460ABC86BAD}" dt="2023-11-03T15:35:45.643" v="1189" actId="478"/>
          <ac:spMkLst>
            <pc:docMk/>
            <pc:sldMk cId="3559324041" sldId="2146847988"/>
            <ac:spMk id="3" creationId="{33A9345C-5495-873A-5D95-8E233D98E959}"/>
          </ac:spMkLst>
        </pc:spChg>
        <pc:picChg chg="add mod">
          <ac:chgData name="Kevin McGinnis" userId="1199bbbd-9de4-4f79-bfe4-5388e34fe8e8" providerId="ADAL" clId="{94F88FD6-DAB1-4E1C-9B64-E460ABC86BAD}" dt="2023-11-03T15:35:54.505" v="1206"/>
          <ac:picMkLst>
            <pc:docMk/>
            <pc:sldMk cId="3559324041" sldId="2146847988"/>
            <ac:picMk id="6" creationId="{BEF0C1AE-C608-5714-A038-B401F8320CF4}"/>
          </ac:picMkLst>
        </pc:picChg>
      </pc:sldChg>
      <pc:sldChg chg="modSp add mod">
        <pc:chgData name="Kevin McGinnis" userId="1199bbbd-9de4-4f79-bfe4-5388e34fe8e8" providerId="ADAL" clId="{94F88FD6-DAB1-4E1C-9B64-E460ABC86BAD}" dt="2023-11-03T15:36:26.292" v="1231" actId="20577"/>
        <pc:sldMkLst>
          <pc:docMk/>
          <pc:sldMk cId="44982464" sldId="2146847989"/>
        </pc:sldMkLst>
        <pc:spChg chg="mod">
          <ac:chgData name="Kevin McGinnis" userId="1199bbbd-9de4-4f79-bfe4-5388e34fe8e8" providerId="ADAL" clId="{94F88FD6-DAB1-4E1C-9B64-E460ABC86BAD}" dt="2023-11-03T15:36:26.292" v="1231" actId="20577"/>
          <ac:spMkLst>
            <pc:docMk/>
            <pc:sldMk cId="44982464" sldId="2146847989"/>
            <ac:spMk id="2" creationId="{1C4D9ED1-4801-6290-DA23-F863BABEB48E}"/>
          </ac:spMkLst>
        </pc:spChg>
        <pc:picChg chg="mod">
          <ac:chgData name="Kevin McGinnis" userId="1199bbbd-9de4-4f79-bfe4-5388e34fe8e8" providerId="ADAL" clId="{94F88FD6-DAB1-4E1C-9B64-E460ABC86BAD}" dt="2023-11-03T15:36:19.636" v="1213" actId="1076"/>
          <ac:picMkLst>
            <pc:docMk/>
            <pc:sldMk cId="44982464" sldId="2146847989"/>
            <ac:picMk id="6" creationId="{BEF0C1AE-C608-5714-A038-B401F8320CF4}"/>
          </ac:picMkLst>
        </pc:picChg>
      </pc:sldChg>
      <pc:sldChg chg="modSp add mod">
        <pc:chgData name="Kevin McGinnis" userId="1199bbbd-9de4-4f79-bfe4-5388e34fe8e8" providerId="ADAL" clId="{94F88FD6-DAB1-4E1C-9B64-E460ABC86BAD}" dt="2023-11-03T15:37:06.756" v="1257" actId="20577"/>
        <pc:sldMkLst>
          <pc:docMk/>
          <pc:sldMk cId="2710266729" sldId="2146847990"/>
        </pc:sldMkLst>
        <pc:spChg chg="mod">
          <ac:chgData name="Kevin McGinnis" userId="1199bbbd-9de4-4f79-bfe4-5388e34fe8e8" providerId="ADAL" clId="{94F88FD6-DAB1-4E1C-9B64-E460ABC86BAD}" dt="2023-11-03T15:37:06.756" v="1257" actId="20577"/>
          <ac:spMkLst>
            <pc:docMk/>
            <pc:sldMk cId="2710266729" sldId="2146847990"/>
            <ac:spMk id="2" creationId="{1C4D9ED1-4801-6290-DA23-F863BABEB48E}"/>
          </ac:spMkLst>
        </pc:spChg>
        <pc:picChg chg="mod">
          <ac:chgData name="Kevin McGinnis" userId="1199bbbd-9de4-4f79-bfe4-5388e34fe8e8" providerId="ADAL" clId="{94F88FD6-DAB1-4E1C-9B64-E460ABC86BAD}" dt="2023-11-03T15:37:00.346" v="1238" actId="1076"/>
          <ac:picMkLst>
            <pc:docMk/>
            <pc:sldMk cId="2710266729" sldId="2146847990"/>
            <ac:picMk id="6" creationId="{BEF0C1AE-C608-5714-A038-B401F8320CF4}"/>
          </ac:picMkLst>
        </pc:picChg>
      </pc:sldChg>
      <pc:sldChg chg="addSp delSp modSp add mod">
        <pc:chgData name="Kevin McGinnis" userId="1199bbbd-9de4-4f79-bfe4-5388e34fe8e8" providerId="ADAL" clId="{94F88FD6-DAB1-4E1C-9B64-E460ABC86BAD}" dt="2023-11-03T15:38:13.010" v="1284" actId="20577"/>
        <pc:sldMkLst>
          <pc:docMk/>
          <pc:sldMk cId="1889941321" sldId="2146847991"/>
        </pc:sldMkLst>
        <pc:spChg chg="mod">
          <ac:chgData name="Kevin McGinnis" userId="1199bbbd-9de4-4f79-bfe4-5388e34fe8e8" providerId="ADAL" clId="{94F88FD6-DAB1-4E1C-9B64-E460ABC86BAD}" dt="2023-11-03T15:38:13.010" v="1284" actId="20577"/>
          <ac:spMkLst>
            <pc:docMk/>
            <pc:sldMk cId="1889941321" sldId="2146847991"/>
            <ac:spMk id="2" creationId="{1C4D9ED1-4801-6290-DA23-F863BABEB48E}"/>
          </ac:spMkLst>
        </pc:spChg>
        <pc:picChg chg="add mod modCrop">
          <ac:chgData name="Kevin McGinnis" userId="1199bbbd-9de4-4f79-bfe4-5388e34fe8e8" providerId="ADAL" clId="{94F88FD6-DAB1-4E1C-9B64-E460ABC86BAD}" dt="2023-11-03T15:37:43.403" v="1266" actId="1076"/>
          <ac:picMkLst>
            <pc:docMk/>
            <pc:sldMk cId="1889941321" sldId="2146847991"/>
            <ac:picMk id="3" creationId="{041FF4C3-FB33-A077-C39E-E5F660025D5F}"/>
          </ac:picMkLst>
        </pc:picChg>
        <pc:picChg chg="del">
          <ac:chgData name="Kevin McGinnis" userId="1199bbbd-9de4-4f79-bfe4-5388e34fe8e8" providerId="ADAL" clId="{94F88FD6-DAB1-4E1C-9B64-E460ABC86BAD}" dt="2023-11-03T15:37:24.391" v="1261" actId="478"/>
          <ac:picMkLst>
            <pc:docMk/>
            <pc:sldMk cId="1889941321" sldId="2146847991"/>
            <ac:picMk id="6" creationId="{BEF0C1AE-C608-5714-A038-B401F8320CF4}"/>
          </ac:picMkLst>
        </pc:picChg>
      </pc:sldChg>
      <pc:sldChg chg="addSp delSp modSp new mod">
        <pc:chgData name="Kevin McGinnis" userId="1199bbbd-9de4-4f79-bfe4-5388e34fe8e8" providerId="ADAL" clId="{94F88FD6-DAB1-4E1C-9B64-E460ABC86BAD}" dt="2023-11-03T16:46:04.712" v="1941" actId="14100"/>
        <pc:sldMkLst>
          <pc:docMk/>
          <pc:sldMk cId="2050347750" sldId="2146847992"/>
        </pc:sldMkLst>
        <pc:spChg chg="mod">
          <ac:chgData name="Kevin McGinnis" userId="1199bbbd-9de4-4f79-bfe4-5388e34fe8e8" providerId="ADAL" clId="{94F88FD6-DAB1-4E1C-9B64-E460ABC86BAD}" dt="2023-11-03T15:41:54.935" v="1422" actId="20577"/>
          <ac:spMkLst>
            <pc:docMk/>
            <pc:sldMk cId="2050347750" sldId="2146847992"/>
            <ac:spMk id="2" creationId="{49267DC2-5FC8-6CEE-7774-A5CFCBB6343D}"/>
          </ac:spMkLst>
        </pc:spChg>
        <pc:spChg chg="del">
          <ac:chgData name="Kevin McGinnis" userId="1199bbbd-9de4-4f79-bfe4-5388e34fe8e8" providerId="ADAL" clId="{94F88FD6-DAB1-4E1C-9B64-E460ABC86BAD}" dt="2023-11-03T15:41:59.410" v="1423" actId="478"/>
          <ac:spMkLst>
            <pc:docMk/>
            <pc:sldMk cId="2050347750" sldId="2146847992"/>
            <ac:spMk id="3" creationId="{F88A8CF0-8438-22C5-381A-0B4C4A670E3F}"/>
          </ac:spMkLst>
        </pc:spChg>
        <pc:spChg chg="add mod">
          <ac:chgData name="Kevin McGinnis" userId="1199bbbd-9de4-4f79-bfe4-5388e34fe8e8" providerId="ADAL" clId="{94F88FD6-DAB1-4E1C-9B64-E460ABC86BAD}" dt="2023-11-03T16:46:04.712" v="1941" actId="14100"/>
          <ac:spMkLst>
            <pc:docMk/>
            <pc:sldMk cId="2050347750" sldId="2146847992"/>
            <ac:spMk id="6" creationId="{86662FD0-5C26-1C64-1D90-1139EA95013B}"/>
          </ac:spMkLst>
        </pc:spChg>
        <pc:spChg chg="add mod">
          <ac:chgData name="Kevin McGinnis" userId="1199bbbd-9de4-4f79-bfe4-5388e34fe8e8" providerId="ADAL" clId="{94F88FD6-DAB1-4E1C-9B64-E460ABC86BAD}" dt="2023-11-03T16:46:02.135" v="1940" actId="14100"/>
          <ac:spMkLst>
            <pc:docMk/>
            <pc:sldMk cId="2050347750" sldId="2146847992"/>
            <ac:spMk id="7" creationId="{0F31DFFA-F83B-B238-8D02-4D4B111BEE86}"/>
          </ac:spMkLst>
        </pc:spChg>
        <pc:picChg chg="add mod">
          <ac:chgData name="Kevin McGinnis" userId="1199bbbd-9de4-4f79-bfe4-5388e34fe8e8" providerId="ADAL" clId="{94F88FD6-DAB1-4E1C-9B64-E460ABC86BAD}" dt="2023-11-03T15:55:03.029" v="1578" actId="1038"/>
          <ac:picMkLst>
            <pc:docMk/>
            <pc:sldMk cId="2050347750" sldId="2146847992"/>
            <ac:picMk id="2050" creationId="{A00BD2D0-A9E6-82CE-A36F-9E5364F04FE5}"/>
          </ac:picMkLst>
        </pc:picChg>
        <pc:picChg chg="add mod">
          <ac:chgData name="Kevin McGinnis" userId="1199bbbd-9de4-4f79-bfe4-5388e34fe8e8" providerId="ADAL" clId="{94F88FD6-DAB1-4E1C-9B64-E460ABC86BAD}" dt="2023-11-03T15:55:15.437" v="1609" actId="1037"/>
          <ac:picMkLst>
            <pc:docMk/>
            <pc:sldMk cId="2050347750" sldId="2146847992"/>
            <ac:picMk id="2052" creationId="{5FC843C8-715E-7822-4F4E-04136CBF7730}"/>
          </ac:picMkLst>
        </pc:picChg>
      </pc:sldChg>
      <pc:sldChg chg="addSp delSp modSp new mod">
        <pc:chgData name="Kevin McGinnis" userId="1199bbbd-9de4-4f79-bfe4-5388e34fe8e8" providerId="ADAL" clId="{94F88FD6-DAB1-4E1C-9B64-E460ABC86BAD}" dt="2023-11-03T16:13:36.505" v="1775" actId="20577"/>
        <pc:sldMkLst>
          <pc:docMk/>
          <pc:sldMk cId="3622133545" sldId="2146847993"/>
        </pc:sldMkLst>
        <pc:spChg chg="mod">
          <ac:chgData name="Kevin McGinnis" userId="1199bbbd-9de4-4f79-bfe4-5388e34fe8e8" providerId="ADAL" clId="{94F88FD6-DAB1-4E1C-9B64-E460ABC86BAD}" dt="2023-11-03T15:55:49.597" v="1612"/>
          <ac:spMkLst>
            <pc:docMk/>
            <pc:sldMk cId="3622133545" sldId="2146847993"/>
            <ac:spMk id="2" creationId="{911C7634-90F2-8F7B-11FF-F994550D5459}"/>
          </ac:spMkLst>
        </pc:spChg>
        <pc:spChg chg="del">
          <ac:chgData name="Kevin McGinnis" userId="1199bbbd-9de4-4f79-bfe4-5388e34fe8e8" providerId="ADAL" clId="{94F88FD6-DAB1-4E1C-9B64-E460ABC86BAD}" dt="2023-11-03T15:55:42.926" v="1611" actId="478"/>
          <ac:spMkLst>
            <pc:docMk/>
            <pc:sldMk cId="3622133545" sldId="2146847993"/>
            <ac:spMk id="3" creationId="{D2BF87C4-0DE2-6534-6590-DB4F38564333}"/>
          </ac:spMkLst>
        </pc:spChg>
        <pc:spChg chg="add mod">
          <ac:chgData name="Kevin McGinnis" userId="1199bbbd-9de4-4f79-bfe4-5388e34fe8e8" providerId="ADAL" clId="{94F88FD6-DAB1-4E1C-9B64-E460ABC86BAD}" dt="2023-11-03T16:13:36.505" v="1775" actId="20577"/>
          <ac:spMkLst>
            <pc:docMk/>
            <pc:sldMk cId="3622133545" sldId="2146847993"/>
            <ac:spMk id="6" creationId="{D094626D-3036-DDF9-A745-7F28305FFACF}"/>
          </ac:spMkLst>
        </pc:spChg>
        <pc:spChg chg="add mod">
          <ac:chgData name="Kevin McGinnis" userId="1199bbbd-9de4-4f79-bfe4-5388e34fe8e8" providerId="ADAL" clId="{94F88FD6-DAB1-4E1C-9B64-E460ABC86BAD}" dt="2023-11-03T16:04:49.084" v="1764" actId="6549"/>
          <ac:spMkLst>
            <pc:docMk/>
            <pc:sldMk cId="3622133545" sldId="2146847993"/>
            <ac:spMk id="7" creationId="{F7FA650B-DFF6-E809-3287-582E9FC44444}"/>
          </ac:spMkLst>
        </pc:spChg>
        <pc:picChg chg="add mod">
          <ac:chgData name="Kevin McGinnis" userId="1199bbbd-9de4-4f79-bfe4-5388e34fe8e8" providerId="ADAL" clId="{94F88FD6-DAB1-4E1C-9B64-E460ABC86BAD}" dt="2023-11-03T15:58:34.121" v="1622" actId="1076"/>
          <ac:picMkLst>
            <pc:docMk/>
            <pc:sldMk cId="3622133545" sldId="2146847993"/>
            <ac:picMk id="3074" creationId="{173A1E34-1D25-7C01-7DC5-B5E4B36AB312}"/>
          </ac:picMkLst>
        </pc:picChg>
        <pc:picChg chg="add mod">
          <ac:chgData name="Kevin McGinnis" userId="1199bbbd-9de4-4f79-bfe4-5388e34fe8e8" providerId="ADAL" clId="{94F88FD6-DAB1-4E1C-9B64-E460ABC86BAD}" dt="2023-11-03T15:58:22.202" v="1620" actId="1076"/>
          <ac:picMkLst>
            <pc:docMk/>
            <pc:sldMk cId="3622133545" sldId="2146847993"/>
            <ac:picMk id="3076" creationId="{183033A2-1C91-08DB-5BB6-74E4F6481E80}"/>
          </ac:picMkLst>
        </pc:picChg>
      </pc:sldChg>
      <pc:sldChg chg="modSp new mod">
        <pc:chgData name="Kevin McGinnis" userId="1199bbbd-9de4-4f79-bfe4-5388e34fe8e8" providerId="ADAL" clId="{94F88FD6-DAB1-4E1C-9B64-E460ABC86BAD}" dt="2023-11-03T17:40:50.736" v="1943"/>
        <pc:sldMkLst>
          <pc:docMk/>
          <pc:sldMk cId="3442389526" sldId="2146847994"/>
        </pc:sldMkLst>
        <pc:spChg chg="mod">
          <ac:chgData name="Kevin McGinnis" userId="1199bbbd-9de4-4f79-bfe4-5388e34fe8e8" providerId="ADAL" clId="{94F88FD6-DAB1-4E1C-9B64-E460ABC86BAD}" dt="2023-11-03T16:17:32.287" v="1811" actId="20577"/>
          <ac:spMkLst>
            <pc:docMk/>
            <pc:sldMk cId="3442389526" sldId="2146847994"/>
            <ac:spMk id="2" creationId="{EC505E6F-1CFC-8E34-0AF1-C37A07CE6371}"/>
          </ac:spMkLst>
        </pc:spChg>
        <pc:spChg chg="mod">
          <ac:chgData name="Kevin McGinnis" userId="1199bbbd-9de4-4f79-bfe4-5388e34fe8e8" providerId="ADAL" clId="{94F88FD6-DAB1-4E1C-9B64-E460ABC86BAD}" dt="2023-11-03T17:40:50.736" v="1943"/>
          <ac:spMkLst>
            <pc:docMk/>
            <pc:sldMk cId="3442389526" sldId="2146847994"/>
            <ac:spMk id="3" creationId="{30C68C33-3F1C-0337-0DE6-62DFDC96127B}"/>
          </ac:spMkLst>
        </pc:spChg>
      </pc:sldChg>
      <pc:sldChg chg="addSp delSp modSp new del mod">
        <pc:chgData name="Kevin McGinnis" userId="1199bbbd-9de4-4f79-bfe4-5388e34fe8e8" providerId="ADAL" clId="{94F88FD6-DAB1-4E1C-9B64-E460ABC86BAD}" dt="2023-11-03T16:10:56.998" v="1773" actId="47"/>
        <pc:sldMkLst>
          <pc:docMk/>
          <pc:sldMk cId="3528788626" sldId="2146847994"/>
        </pc:sldMkLst>
        <pc:spChg chg="mod">
          <ac:chgData name="Kevin McGinnis" userId="1199bbbd-9de4-4f79-bfe4-5388e34fe8e8" providerId="ADAL" clId="{94F88FD6-DAB1-4E1C-9B64-E460ABC86BAD}" dt="2023-11-03T16:06:21.127" v="1766"/>
          <ac:spMkLst>
            <pc:docMk/>
            <pc:sldMk cId="3528788626" sldId="2146847994"/>
            <ac:spMk id="2" creationId="{31483166-5303-4B14-06C7-F2FE7B97C1F0}"/>
          </ac:spMkLst>
        </pc:spChg>
        <pc:spChg chg="del mod">
          <ac:chgData name="Kevin McGinnis" userId="1199bbbd-9de4-4f79-bfe4-5388e34fe8e8" providerId="ADAL" clId="{94F88FD6-DAB1-4E1C-9B64-E460ABC86BAD}" dt="2023-11-03T16:07:08.249" v="1768" actId="478"/>
          <ac:spMkLst>
            <pc:docMk/>
            <pc:sldMk cId="3528788626" sldId="2146847994"/>
            <ac:spMk id="3" creationId="{3EAC6600-9779-F358-2640-7D8A49372C66}"/>
          </ac:spMkLst>
        </pc:spChg>
        <pc:picChg chg="add mod">
          <ac:chgData name="Kevin McGinnis" userId="1199bbbd-9de4-4f79-bfe4-5388e34fe8e8" providerId="ADAL" clId="{94F88FD6-DAB1-4E1C-9B64-E460ABC86BAD}" dt="2023-11-03T16:07:26.768" v="1772" actId="1076"/>
          <ac:picMkLst>
            <pc:docMk/>
            <pc:sldMk cId="3528788626" sldId="2146847994"/>
            <ac:picMk id="4098" creationId="{A15C8C94-A627-AD4C-75AC-2A104BE8B546}"/>
          </ac:picMkLst>
        </pc:picChg>
      </pc:sldChg>
      <pc:sldChg chg="addSp delSp modSp new mod">
        <pc:chgData name="Kevin McGinnis" userId="1199bbbd-9de4-4f79-bfe4-5388e34fe8e8" providerId="ADAL" clId="{94F88FD6-DAB1-4E1C-9B64-E460ABC86BAD}" dt="2023-11-03T16:39:40.485" v="1893" actId="1076"/>
        <pc:sldMkLst>
          <pc:docMk/>
          <pc:sldMk cId="1976921347" sldId="2146847995"/>
        </pc:sldMkLst>
        <pc:spChg chg="mod">
          <ac:chgData name="Kevin McGinnis" userId="1199bbbd-9de4-4f79-bfe4-5388e34fe8e8" providerId="ADAL" clId="{94F88FD6-DAB1-4E1C-9B64-E460ABC86BAD}" dt="2023-11-03T16:39:27.908" v="1891" actId="20577"/>
          <ac:spMkLst>
            <pc:docMk/>
            <pc:sldMk cId="1976921347" sldId="2146847995"/>
            <ac:spMk id="2" creationId="{43934B15-2E93-289B-FE5E-82E2F2535570}"/>
          </ac:spMkLst>
        </pc:spChg>
        <pc:spChg chg="del">
          <ac:chgData name="Kevin McGinnis" userId="1199bbbd-9de4-4f79-bfe4-5388e34fe8e8" providerId="ADAL" clId="{94F88FD6-DAB1-4E1C-9B64-E460ABC86BAD}" dt="2023-11-03T16:39:13.858" v="1869" actId="478"/>
          <ac:spMkLst>
            <pc:docMk/>
            <pc:sldMk cId="1976921347" sldId="2146847995"/>
            <ac:spMk id="3" creationId="{77AC2156-9EB8-EC8F-9340-CED95F6D960B}"/>
          </ac:spMkLst>
        </pc:spChg>
        <pc:picChg chg="add mod">
          <ac:chgData name="Kevin McGinnis" userId="1199bbbd-9de4-4f79-bfe4-5388e34fe8e8" providerId="ADAL" clId="{94F88FD6-DAB1-4E1C-9B64-E460ABC86BAD}" dt="2023-11-03T16:39:40.485" v="1893" actId="1076"/>
          <ac:picMkLst>
            <pc:docMk/>
            <pc:sldMk cId="1976921347" sldId="2146847995"/>
            <ac:picMk id="6146" creationId="{32B31D34-C0B5-5BF5-1211-2A6BCEDCB2FD}"/>
          </ac:picMkLst>
        </pc:picChg>
      </pc:sldChg>
      <pc:sldMasterChg chg="delSldLayout modSldLayout">
        <pc:chgData name="Kevin McGinnis" userId="1199bbbd-9de4-4f79-bfe4-5388e34fe8e8" providerId="ADAL" clId="{94F88FD6-DAB1-4E1C-9B64-E460ABC86BAD}" dt="2023-11-03T15:32:56.833" v="1180" actId="20577"/>
        <pc:sldMasterMkLst>
          <pc:docMk/>
          <pc:sldMasterMk cId="294033924" sldId="2147483667"/>
        </pc:sldMasterMkLst>
        <pc:sldLayoutChg chg="modSp mod">
          <pc:chgData name="Kevin McGinnis" userId="1199bbbd-9de4-4f79-bfe4-5388e34fe8e8" providerId="ADAL" clId="{94F88FD6-DAB1-4E1C-9B64-E460ABC86BAD}" dt="2023-11-03T15:32:56.833" v="1180" actId="20577"/>
          <pc:sldLayoutMkLst>
            <pc:docMk/>
            <pc:sldMasterMk cId="294033924" sldId="2147483667"/>
            <pc:sldLayoutMk cId="1631710259" sldId="2147483661"/>
          </pc:sldLayoutMkLst>
          <pc:spChg chg="mod">
            <ac:chgData name="Kevin McGinnis" userId="1199bbbd-9de4-4f79-bfe4-5388e34fe8e8" providerId="ADAL" clId="{94F88FD6-DAB1-4E1C-9B64-E460ABC86BAD}" dt="2023-11-03T15:32:56.833" v="1180" actId="20577"/>
            <ac:spMkLst>
              <pc:docMk/>
              <pc:sldMasterMk cId="294033924" sldId="2147483667"/>
              <pc:sldLayoutMk cId="1631710259" sldId="2147483661"/>
              <ac:spMk id="12" creationId="{00000000-0000-0000-0000-000000000000}"/>
            </ac:spMkLst>
          </pc:spChg>
        </pc:sldLayoutChg>
        <pc:sldLayoutChg chg="del">
          <pc:chgData name="Kevin McGinnis" userId="1199bbbd-9de4-4f79-bfe4-5388e34fe8e8" providerId="ADAL" clId="{94F88FD6-DAB1-4E1C-9B64-E460ABC86BAD}" dt="2023-11-03T14:59:19.123" v="858" actId="47"/>
          <pc:sldLayoutMkLst>
            <pc:docMk/>
            <pc:sldMasterMk cId="294033924" sldId="2147483667"/>
            <pc:sldLayoutMk cId="388006267" sldId="2147483671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048169556840076E-2"/>
          <c:y val="2.7310924369747899E-2"/>
          <c:w val="0.88872832369942201"/>
          <c:h val="0.9453781512605041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Lbls>
            <c:dLbl>
              <c:idx val="15"/>
              <c:layout>
                <c:manualLayout>
                  <c:x val="0"/>
                  <c:y val="5.409663865546218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1AD-404A-A246-ACAC73257F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P$1</c:f>
              <c:numCache>
                <c:formatCode>General</c:formatCode>
                <c:ptCount val="1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</c:numCache>
            </c:numRef>
          </c:xVal>
          <c:yVal>
            <c:numRef>
              <c:f>Sheet1!$A$2:$P$2</c:f>
              <c:numCache>
                <c:formatCode>General</c:formatCode>
                <c:ptCount val="16"/>
                <c:pt idx="0">
                  <c:v>0</c:v>
                </c:pt>
                <c:pt idx="1">
                  <c:v>-6</c:v>
                </c:pt>
                <c:pt idx="2">
                  <c:v>-4</c:v>
                </c:pt>
                <c:pt idx="3">
                  <c:v>-8</c:v>
                </c:pt>
                <c:pt idx="4">
                  <c:v>-10</c:v>
                </c:pt>
                <c:pt idx="5">
                  <c:v>-5</c:v>
                </c:pt>
                <c:pt idx="6">
                  <c:v>-6</c:v>
                </c:pt>
                <c:pt idx="7">
                  <c:v>-9</c:v>
                </c:pt>
                <c:pt idx="8">
                  <c:v>-6</c:v>
                </c:pt>
                <c:pt idx="9">
                  <c:v>-15</c:v>
                </c:pt>
                <c:pt idx="10">
                  <c:v>-21</c:v>
                </c:pt>
                <c:pt idx="11">
                  <c:v>-27</c:v>
                </c:pt>
                <c:pt idx="12">
                  <c:v>-33</c:v>
                </c:pt>
                <c:pt idx="13">
                  <c:v>-38</c:v>
                </c:pt>
                <c:pt idx="14">
                  <c:v>-46</c:v>
                </c:pt>
                <c:pt idx="15">
                  <c:v>-5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1AD-404A-A246-ACAC73257F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02429968"/>
        <c:axId val="1"/>
      </c:scatterChart>
      <c:valAx>
        <c:axId val="1402429968"/>
        <c:scaling>
          <c:orientation val="minMax"/>
          <c:max val="2020"/>
          <c:min val="2005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ax"/>
        <c:crossBetween val="midCat"/>
        <c:majorUnit val="5"/>
      </c:valAx>
      <c:valAx>
        <c:axId val="1"/>
        <c:scaling>
          <c:orientation val="minMax"/>
          <c:max val="0"/>
          <c:min val="-75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402429968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055150884495317E-2"/>
          <c:y val="2.7310924369747899E-2"/>
          <c:w val="0.9365244536940686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7AA-41EC-A87F-FEE990F3E66C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7AA-41EC-A87F-FEE990F3E66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7AA-41EC-A87F-FEE990F3E66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7AA-41EC-A87F-FEE990F3E66C}"/>
              </c:ext>
            </c:extLst>
          </c:dPt>
          <c:dLbls>
            <c:dLbl>
              <c:idx val="0"/>
              <c:layout>
                <c:manualLayout>
                  <c:x val="1.1446520487628488E-2"/>
                  <c:y val="-2.1006197754692428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7AA-41EC-A87F-FEE990F3E66C}"/>
                </c:ext>
              </c:extLst>
            </c:dLbl>
            <c:dLbl>
              <c:idx val="1"/>
              <c:layout>
                <c:manualLayout>
                  <c:x val="-2.0464686605945453E-2"/>
                  <c:y val="4.026555504091297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7AA-41EC-A87F-FEE990F3E66C}"/>
                </c:ext>
              </c:extLst>
            </c:dLbl>
            <c:dLbl>
              <c:idx val="3"/>
              <c:layout>
                <c:manualLayout>
                  <c:x val="3.1390751802256707E-2"/>
                  <c:y val="-2.67857694258806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7AA-41EC-A87F-FEE990F3E66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50</c:v>
                </c:pt>
                <c:pt idx="1">
                  <c:v>21</c:v>
                </c:pt>
                <c:pt idx="2">
                  <c:v>1</c:v>
                </c:pt>
                <c:pt idx="3">
                  <c:v>28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AA-41EC-A87F-FEE990F3E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7499C5-1D20-DA4B-9080-B1F6D4CD7577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D58530-63E0-D14A-9982-07F1477B6D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029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C72B13-C5EE-ED4A-BF44-E075AF687C07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FE8FC6-C739-EA44-B6B3-43772354D3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808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E8FC6-C739-EA44-B6B3-43772354D32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075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E8FC6-C739-EA44-B6B3-43772354D32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5284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Our service territory Eastern Kansas and Western Missour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e contiguous service territories were a key factor in our decision to merge KCP&amp;L and Westar Energy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E8FC6-C739-EA44-B6B3-43772354D32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929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E8FC6-C739-EA44-B6B3-43772354D32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02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776" y="5949590"/>
            <a:ext cx="2447701" cy="56494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32"/>
          <a:stretch/>
        </p:blipFill>
        <p:spPr>
          <a:xfrm>
            <a:off x="0" y="1345529"/>
            <a:ext cx="3900668" cy="422675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170199" y="1530723"/>
            <a:ext cx="4597279" cy="2599020"/>
          </a:xfrm>
          <a:prstGeom prst="rect">
            <a:avLst/>
          </a:prstGeom>
        </p:spPr>
        <p:txBody>
          <a:bodyPr anchor="b"/>
          <a:lstStyle>
            <a:lvl1pPr algn="l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170199" y="4294373"/>
            <a:ext cx="4597279" cy="6657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i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63" t="13492" r="-177" b="-4208"/>
          <a:stretch/>
        </p:blipFill>
        <p:spPr>
          <a:xfrm>
            <a:off x="0" y="0"/>
            <a:ext cx="6400622" cy="47842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21444" y="1709739"/>
            <a:ext cx="4987458" cy="2852737"/>
          </a:xfrm>
          <a:prstGeom prst="rect">
            <a:avLst/>
          </a:prstGeo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21444" y="4733473"/>
            <a:ext cx="4987458" cy="9844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540829" y="2456738"/>
            <a:ext cx="3603171" cy="4409954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122" y="6187073"/>
            <a:ext cx="2297217" cy="53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5273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rgy Divider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3" t="13274"/>
          <a:stretch/>
        </p:blipFill>
        <p:spPr>
          <a:xfrm>
            <a:off x="0" y="-8691"/>
            <a:ext cx="6400622" cy="4571168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921444" y="1709739"/>
            <a:ext cx="4987458" cy="2852737"/>
          </a:xfrm>
          <a:prstGeom prst="rect">
            <a:avLst/>
          </a:prstGeo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921444" y="4733473"/>
            <a:ext cx="4987458" cy="9844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ight Triangle 13"/>
          <p:cNvSpPr/>
          <p:nvPr userDrawn="1"/>
        </p:nvSpPr>
        <p:spPr>
          <a:xfrm flipH="1">
            <a:off x="5540829" y="2456738"/>
            <a:ext cx="3603171" cy="4409954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122" y="6187073"/>
            <a:ext cx="2297217" cy="53021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vergy 2 Column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75253" y="1595309"/>
            <a:ext cx="3886200" cy="3781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04413" y="1595309"/>
            <a:ext cx="3886200" cy="3781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253" y="419154"/>
            <a:ext cx="8015360" cy="85305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533"/>
          <a:stretch/>
        </p:blipFill>
        <p:spPr>
          <a:xfrm>
            <a:off x="205741" y="478715"/>
            <a:ext cx="440204" cy="392654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6CF11156-619B-4C95-8F16-C9500F0DD9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1292" y="6285675"/>
            <a:ext cx="5031685" cy="365125"/>
          </a:xfrm>
          <a:prstGeom prst="rect">
            <a:avLst/>
          </a:prstGeom>
        </p:spPr>
        <p:txBody>
          <a:bodyPr anchor="ctr"/>
          <a:lstStyle>
            <a:lvl1pPr>
              <a:defRPr sz="788" i="1"/>
            </a:lvl1pPr>
          </a:lstStyle>
          <a:p>
            <a:r>
              <a:rPr lang="en-US" altLang="en-US"/>
              <a:t>Board of Directors Strategy Meeting – August 31-September 1, 2022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405CA9CA-B6B1-453B-9200-F975AA6899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75097" y="5424489"/>
            <a:ext cx="8015288" cy="369887"/>
          </a:xfrm>
          <a:prstGeom prst="rect">
            <a:avLst/>
          </a:prstGeom>
          <a:solidFill>
            <a:srgbClr val="004E9A"/>
          </a:solidFill>
        </p:spPr>
        <p:txBody>
          <a:bodyPr/>
          <a:lstStyle>
            <a:lvl1pPr marL="0" indent="0" algn="ctr">
              <a:buNone/>
              <a:defRPr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dd major takeaway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E4C77A5C-B6A8-4444-9AD0-25EE6C4B7B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1" y="6013451"/>
            <a:ext cx="5204222" cy="271463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00" i="1"/>
            </a:lvl1pPr>
          </a:lstStyle>
          <a:p>
            <a:pPr lvl="0"/>
            <a:r>
              <a:rPr lang="en-US"/>
              <a:t>Note:</a:t>
            </a:r>
          </a:p>
        </p:txBody>
      </p:sp>
    </p:spTree>
    <p:extLst>
      <p:ext uri="{BB962C8B-B14F-4D97-AF65-F5344CB8AC3E}">
        <p14:creationId xmlns:p14="http://schemas.microsoft.com/office/powerpoint/2010/main" val="1232971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76"/>
          <a:stretch/>
        </p:blipFill>
        <p:spPr>
          <a:xfrm>
            <a:off x="0" y="430410"/>
            <a:ext cx="3593558" cy="383892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892950" y="2135630"/>
            <a:ext cx="4579713" cy="1082133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892949" y="3318444"/>
            <a:ext cx="4579715" cy="26321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Font typeface="Arial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0629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Copy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26857" y="483737"/>
            <a:ext cx="7998481" cy="800046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826857" y="1458410"/>
            <a:ext cx="7998481" cy="4642637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409" y="6304619"/>
            <a:ext cx="1787929" cy="4126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228600" y="472162"/>
            <a:ext cx="563532" cy="407441"/>
          </a:xfrm>
          <a:prstGeom prst="rect">
            <a:avLst/>
          </a:prstGeom>
        </p:spPr>
      </p:pic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3 Envirothon / November 8th, 2023</a:t>
            </a:r>
          </a:p>
        </p:txBody>
      </p:sp>
    </p:spTree>
    <p:extLst>
      <p:ext uri="{BB962C8B-B14F-4D97-AF65-F5344CB8AC3E}">
        <p14:creationId xmlns:p14="http://schemas.microsoft.com/office/powerpoint/2010/main" val="16317102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vergy Copy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228600" y="472162"/>
            <a:ext cx="563532" cy="407441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26857" y="483737"/>
            <a:ext cx="7998481" cy="800046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826857" y="1458410"/>
            <a:ext cx="7998481" cy="4642637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3 Midwest Energy Policy Series Environmental Impact Requirements / April 25th, 2023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Subhead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228600" y="472162"/>
            <a:ext cx="563532" cy="40744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409" y="6304619"/>
            <a:ext cx="1787929" cy="412665"/>
          </a:xfrm>
          <a:prstGeom prst="rect">
            <a:avLst/>
          </a:prstGeom>
        </p:spPr>
      </p:pic>
      <p:sp>
        <p:nvSpPr>
          <p:cNvPr id="19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826856" y="999880"/>
            <a:ext cx="7998481" cy="377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>
                <a:solidFill>
                  <a:schemeClr val="tx2"/>
                </a:solidFill>
              </a:defRPr>
            </a:lvl1pPr>
            <a:lvl2pPr marL="342900" indent="0">
              <a:buNone/>
              <a:defRPr sz="1800">
                <a:solidFill>
                  <a:schemeClr val="tx2"/>
                </a:solidFill>
              </a:defRPr>
            </a:lvl2pPr>
            <a:lvl3pPr marL="685800" indent="0">
              <a:buNone/>
              <a:defRPr sz="1800">
                <a:solidFill>
                  <a:schemeClr val="tx2"/>
                </a:solidFill>
              </a:defRPr>
            </a:lvl3pPr>
            <a:lvl4pPr marL="1028700" indent="0">
              <a:buNone/>
              <a:defRPr sz="1800">
                <a:solidFill>
                  <a:schemeClr val="tx2"/>
                </a:solidFill>
              </a:defRPr>
            </a:lvl4pPr>
            <a:lvl5pPr marL="13716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826857" y="483737"/>
            <a:ext cx="7998481" cy="51614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826857" y="1458410"/>
            <a:ext cx="7998481" cy="4642637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3 Midwest Energy Policy Series Environmental Impact Requirements / April 25th, 2023</a:t>
            </a:r>
          </a:p>
        </p:txBody>
      </p:sp>
    </p:spTree>
    <p:extLst>
      <p:ext uri="{BB962C8B-B14F-4D97-AF65-F5344CB8AC3E}">
        <p14:creationId xmlns:p14="http://schemas.microsoft.com/office/powerpoint/2010/main" val="14157676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Subhead Copy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826857" y="1458410"/>
            <a:ext cx="7998481" cy="4642637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3 Midwest Energy Policy Series Environmental Impact Requirements / April 25th, 2023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228600" y="472162"/>
            <a:ext cx="563532" cy="407441"/>
          </a:xfrm>
          <a:prstGeom prst="rect">
            <a:avLst/>
          </a:prstGeom>
        </p:spPr>
      </p:pic>
      <p:sp>
        <p:nvSpPr>
          <p:cNvPr id="17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826856" y="999880"/>
            <a:ext cx="7998481" cy="377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>
                <a:solidFill>
                  <a:schemeClr val="tx2"/>
                </a:solidFill>
              </a:defRPr>
            </a:lvl1pPr>
            <a:lvl2pPr marL="342900" indent="0">
              <a:buNone/>
              <a:defRPr sz="1800">
                <a:solidFill>
                  <a:schemeClr val="tx2"/>
                </a:solidFill>
              </a:defRPr>
            </a:lvl2pPr>
            <a:lvl3pPr marL="685800" indent="0">
              <a:buNone/>
              <a:defRPr sz="1800">
                <a:solidFill>
                  <a:schemeClr val="tx2"/>
                </a:solidFill>
              </a:defRPr>
            </a:lvl3pPr>
            <a:lvl4pPr marL="1028700" indent="0">
              <a:buNone/>
              <a:defRPr sz="1800">
                <a:solidFill>
                  <a:schemeClr val="tx2"/>
                </a:solidFill>
              </a:defRPr>
            </a:lvl4pPr>
            <a:lvl5pPr marL="13716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26857" y="483737"/>
            <a:ext cx="7998481" cy="51614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00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6857" y="1458409"/>
            <a:ext cx="3886200" cy="4642637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39138" y="1458409"/>
            <a:ext cx="3886200" cy="4642637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3 Midwest Energy Policy Series Environmental Impact Requirements / April 25th, 2023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228600" y="472162"/>
            <a:ext cx="563532" cy="407441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26857" y="483737"/>
            <a:ext cx="7998481" cy="51614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409" y="6304619"/>
            <a:ext cx="1787929" cy="412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645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2 Column 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826857" y="1458409"/>
            <a:ext cx="3886200" cy="4642637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939138" y="1458409"/>
            <a:ext cx="3886200" cy="4642637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3 Midwest Energy Policy Series Environmental Impact Requirements / April 25th, 2023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" r="2"/>
          <a:stretch/>
        </p:blipFill>
        <p:spPr>
          <a:xfrm>
            <a:off x="228600" y="472162"/>
            <a:ext cx="563532" cy="407441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26857" y="483737"/>
            <a:ext cx="7998481" cy="51614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3396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rgy Large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9144000" cy="61010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Insert Large photo</a:t>
            </a:r>
          </a:p>
        </p:txBody>
      </p:sp>
      <p:sp>
        <p:nvSpPr>
          <p:cNvPr id="10" name="Right Triangle 9"/>
          <p:cNvSpPr/>
          <p:nvPr userDrawn="1"/>
        </p:nvSpPr>
        <p:spPr>
          <a:xfrm flipH="1">
            <a:off x="5540829" y="1032310"/>
            <a:ext cx="3603171" cy="582569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477055"/>
            <a:ext cx="417733" cy="40254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75253" y="419154"/>
            <a:ext cx="8015360" cy="8530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i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3 Midwest Energy Policy Series Environmental Impact Requirements / April 25th, 2023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fld id="{8B769522-718C-ED48-AC44-053BD883F66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409" y="6304619"/>
            <a:ext cx="1787929" cy="412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11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SIPCMContentMarking" descr="{&quot;HashCode&quot;:-1717460765,&quot;Placement&quot;:&quot;Footer&quot;,&quot;Top&quot;:519.343,&quot;Left&quot;:626.912964,&quot;SlideWidth&quot;:720,&quot;SlideHeight&quot;:540}">
            <a:extLst>
              <a:ext uri="{FF2B5EF4-FFF2-40B4-BE49-F238E27FC236}">
                <a16:creationId xmlns:a16="http://schemas.microsoft.com/office/drawing/2014/main" id="{F854AE30-4910-409D-800C-7BCF66202589}"/>
              </a:ext>
            </a:extLst>
          </p:cNvPr>
          <p:cNvSpPr txBox="1"/>
          <p:nvPr userDrawn="1"/>
        </p:nvSpPr>
        <p:spPr>
          <a:xfrm>
            <a:off x="7961795" y="6595656"/>
            <a:ext cx="1182205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A80000"/>
                </a:solidFill>
                <a:latin typeface="Calibri" panose="020F0502020204030204" pitchFamily="34" charset="0"/>
              </a:rPr>
              <a:t>Internal Use Only </a:t>
            </a:r>
          </a:p>
        </p:txBody>
      </p:sp>
    </p:spTree>
    <p:extLst>
      <p:ext uri="{BB962C8B-B14F-4D97-AF65-F5344CB8AC3E}">
        <p14:creationId xmlns:p14="http://schemas.microsoft.com/office/powerpoint/2010/main" val="2940339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4" r:id="rId2"/>
    <p:sldLayoutId id="2147483661" r:id="rId3"/>
    <p:sldLayoutId id="2147483669" r:id="rId4"/>
    <p:sldLayoutId id="2147483662" r:id="rId5"/>
    <p:sldLayoutId id="2147483663" r:id="rId6"/>
    <p:sldLayoutId id="2147483652" r:id="rId7"/>
    <p:sldLayoutId id="2147483665" r:id="rId8"/>
    <p:sldLayoutId id="2147483666" r:id="rId9"/>
    <p:sldLayoutId id="2147483658" r:id="rId10"/>
    <p:sldLayoutId id="2147483670" r:id="rId11"/>
    <p:sldLayoutId id="2147483672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4" Type="http://schemas.openxmlformats.org/officeDocument/2006/relationships/image" Target="../media/image12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12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image" Target="../media/image17.png"/><Relationship Id="rId20" Type="http://schemas.openxmlformats.org/officeDocument/2006/relationships/chart" Target="../charts/chart2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5.xml"/><Relationship Id="rId10" Type="http://schemas.openxmlformats.org/officeDocument/2006/relationships/tags" Target="../tags/tag13.xml"/><Relationship Id="rId19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000" dirty="0"/>
              <a:t>Renewable Energy for a Sustainable Future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4170199" y="4267740"/>
            <a:ext cx="4597279" cy="665797"/>
          </a:xfrm>
        </p:spPr>
        <p:txBody>
          <a:bodyPr/>
          <a:lstStyle/>
          <a:p>
            <a:r>
              <a:rPr lang="en-US" dirty="0"/>
              <a:t>November 8</a:t>
            </a:r>
            <a:r>
              <a:rPr lang="en-US" baseline="30000" dirty="0"/>
              <a:t>th, </a:t>
            </a:r>
            <a:r>
              <a:rPr lang="en-US" dirty="0"/>
              <a:t>2023 </a:t>
            </a:r>
          </a:p>
        </p:txBody>
      </p:sp>
      <p:pic>
        <p:nvPicPr>
          <p:cNvPr id="5124" name="Picture 4" descr="KANSAS ENVIROTHON">
            <a:extLst>
              <a:ext uri="{FF2B5EF4-FFF2-40B4-BE49-F238E27FC236}">
                <a16:creationId xmlns:a16="http://schemas.microsoft.com/office/drawing/2014/main" id="{233365FF-3FEA-A832-FDDE-0F8CA1C6E8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447" y="5438965"/>
            <a:ext cx="1482294" cy="123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58445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934B15-2E93-289B-FE5E-82E2F25355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otoelectric Effec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0BCD50-B8CE-0FE7-9766-A877C05402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B92016-655B-2E88-7289-3C6732C3D2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2023 Envirothon / November 8th, 2023</a:t>
            </a:r>
            <a:endParaRPr lang="en-US" dirty="0"/>
          </a:p>
        </p:txBody>
      </p:sp>
      <p:pic>
        <p:nvPicPr>
          <p:cNvPr id="6146" name="Picture 2" descr="Photoelectric Effect">
            <a:extLst>
              <a:ext uri="{FF2B5EF4-FFF2-40B4-BE49-F238E27FC236}">
                <a16:creationId xmlns:a16="http://schemas.microsoft.com/office/drawing/2014/main" id="{32B31D34-C0B5-5BF5-1211-2A6BCEDCB2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077" y="1260193"/>
            <a:ext cx="5720040" cy="4337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9213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D9ED1-4801-6290-DA23-F863BABEB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ar Generation Profi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E586B3-8461-89F8-0F84-F2E19B5ADA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F6C672-7980-E071-4D67-872C3A6E0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2023 Envirothon / November 8th, 2023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1FF4C3-FB33-A077-C39E-E5F660025D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292" t="5398" r="25241" b="2194"/>
          <a:stretch/>
        </p:blipFill>
        <p:spPr>
          <a:xfrm>
            <a:off x="1070970" y="1283783"/>
            <a:ext cx="7002060" cy="4859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9413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8B7BA65E-3AAC-4065-B641-78588B897B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B7BA65E-3AAC-4065-B641-78588B897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F4B00A-6E8D-4241-B5B1-E732844FE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or a Sustainable Fu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C1532F-24C7-4B8A-B88D-B0D952C0CE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BE3E55D-303D-46E5-8D9E-186D19976CF3}"/>
              </a:ext>
            </a:extLst>
          </p:cNvPr>
          <p:cNvGrpSpPr/>
          <p:nvPr/>
        </p:nvGrpSpPr>
        <p:grpSpPr>
          <a:xfrm>
            <a:off x="1182741" y="2230149"/>
            <a:ext cx="6902822" cy="2954873"/>
            <a:chOff x="2090052" y="2527961"/>
            <a:chExt cx="7978980" cy="330462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172A3498-46BF-440E-956C-A63BDCB66982}"/>
                </a:ext>
              </a:extLst>
            </p:cNvPr>
            <p:cNvSpPr/>
            <p:nvPr/>
          </p:nvSpPr>
          <p:spPr>
            <a:xfrm>
              <a:off x="2090052" y="4761888"/>
              <a:ext cx="478971" cy="478971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10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19AC8D8-4AB6-4D39-BCA8-7B69B4DC66CF}"/>
                </a:ext>
              </a:extLst>
            </p:cNvPr>
            <p:cNvSpPr txBox="1"/>
            <p:nvPr/>
          </p:nvSpPr>
          <p:spPr>
            <a:xfrm>
              <a:off x="2673525" y="2527961"/>
              <a:ext cx="7395505" cy="5679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700" dirty="0"/>
                <a:t>What will supply our base load?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9DC95AC-FEFA-47B0-BAC4-F0FD32AD6518}"/>
                </a:ext>
              </a:extLst>
            </p:cNvPr>
            <p:cNvGrpSpPr/>
            <p:nvPr/>
          </p:nvGrpSpPr>
          <p:grpSpPr>
            <a:xfrm>
              <a:off x="2090052" y="2552841"/>
              <a:ext cx="478971" cy="478971"/>
              <a:chOff x="1706876" y="2876529"/>
              <a:chExt cx="478971" cy="478971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E803EF7-D7EA-4216-B885-A083CD2852DA}"/>
                  </a:ext>
                </a:extLst>
              </p:cNvPr>
              <p:cNvSpPr/>
              <p:nvPr/>
            </p:nvSpPr>
            <p:spPr>
              <a:xfrm>
                <a:off x="1706876" y="2876529"/>
                <a:ext cx="478971" cy="478971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2100"/>
              </a:p>
            </p:txBody>
          </p:sp>
          <p:sp>
            <p:nvSpPr>
              <p:cNvPr id="39" name="Arrow: Chevron 38">
                <a:extLst>
                  <a:ext uri="{FF2B5EF4-FFF2-40B4-BE49-F238E27FC236}">
                    <a16:creationId xmlns:a16="http://schemas.microsoft.com/office/drawing/2014/main" id="{F43152DE-EDEA-4AEF-9A2D-0B1FC9BE8615}"/>
                  </a:ext>
                </a:extLst>
              </p:cNvPr>
              <p:cNvSpPr/>
              <p:nvPr/>
            </p:nvSpPr>
            <p:spPr>
              <a:xfrm>
                <a:off x="1846212" y="2934885"/>
                <a:ext cx="243840" cy="313508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21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7" name="Arrow: Chevron 36">
              <a:extLst>
                <a:ext uri="{FF2B5EF4-FFF2-40B4-BE49-F238E27FC236}">
                  <a16:creationId xmlns:a16="http://schemas.microsoft.com/office/drawing/2014/main" id="{CE9E9DB1-8BA0-4E77-BD55-B0644950A96E}"/>
                </a:ext>
              </a:extLst>
            </p:cNvPr>
            <p:cNvSpPr/>
            <p:nvPr/>
          </p:nvSpPr>
          <p:spPr>
            <a:xfrm>
              <a:off x="2229388" y="3388220"/>
              <a:ext cx="243840" cy="313508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100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46B8E27-EA27-4DC8-B197-86B7A4C7365F}"/>
                </a:ext>
              </a:extLst>
            </p:cNvPr>
            <p:cNvSpPr txBox="1"/>
            <p:nvPr/>
          </p:nvSpPr>
          <p:spPr>
            <a:xfrm>
              <a:off x="2673527" y="3431624"/>
              <a:ext cx="7395505" cy="10326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700" dirty="0"/>
                <a:t>How can we efficiently store solar and wind energy?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0A79324-EFBA-4F2C-9A3F-5CF13CE66C18}"/>
                </a:ext>
              </a:extLst>
            </p:cNvPr>
            <p:cNvGrpSpPr/>
            <p:nvPr/>
          </p:nvGrpSpPr>
          <p:grpSpPr>
            <a:xfrm>
              <a:off x="2090052" y="3657365"/>
              <a:ext cx="478971" cy="816054"/>
              <a:chOff x="1706876" y="3999105"/>
              <a:chExt cx="478971" cy="816054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41F98063-956E-4E2D-8CC2-E659378583EE}"/>
                  </a:ext>
                </a:extLst>
              </p:cNvPr>
              <p:cNvSpPr/>
              <p:nvPr/>
            </p:nvSpPr>
            <p:spPr>
              <a:xfrm>
                <a:off x="1706876" y="3999105"/>
                <a:ext cx="478971" cy="478971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2100"/>
              </a:p>
            </p:txBody>
          </p:sp>
          <p:sp>
            <p:nvSpPr>
              <p:cNvPr id="35" name="Arrow: Chevron 34">
                <a:extLst>
                  <a:ext uri="{FF2B5EF4-FFF2-40B4-BE49-F238E27FC236}">
                    <a16:creationId xmlns:a16="http://schemas.microsoft.com/office/drawing/2014/main" id="{DC618215-5A57-4B0B-8254-654A38778296}"/>
                  </a:ext>
                </a:extLst>
              </p:cNvPr>
              <p:cNvSpPr/>
              <p:nvPr/>
            </p:nvSpPr>
            <p:spPr>
              <a:xfrm>
                <a:off x="1846212" y="4501651"/>
                <a:ext cx="243840" cy="313508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2100">
                  <a:solidFill>
                    <a:schemeClr val="tx1"/>
                  </a:solidFill>
                </a:endParaRPr>
              </a:p>
            </p:txBody>
          </p:sp>
          <p:sp>
            <p:nvSpPr>
              <p:cNvPr id="3" name="Arrow: Chevron 2">
                <a:extLst>
                  <a:ext uri="{FF2B5EF4-FFF2-40B4-BE49-F238E27FC236}">
                    <a16:creationId xmlns:a16="http://schemas.microsoft.com/office/drawing/2014/main" id="{61112145-6948-5D93-5455-9603E9011702}"/>
                  </a:ext>
                </a:extLst>
              </p:cNvPr>
              <p:cNvSpPr/>
              <p:nvPr/>
            </p:nvSpPr>
            <p:spPr>
              <a:xfrm>
                <a:off x="1824442" y="4061873"/>
                <a:ext cx="243840" cy="313508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210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0E94FDB-DE9B-4E0A-A4C1-A3AC1764BC23}"/>
                </a:ext>
              </a:extLst>
            </p:cNvPr>
            <p:cNvSpPr txBox="1"/>
            <p:nvPr/>
          </p:nvSpPr>
          <p:spPr>
            <a:xfrm>
              <a:off x="2673527" y="4799966"/>
              <a:ext cx="6734049" cy="10326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700" dirty="0"/>
                <a:t>How can our fossil generation be more sustainable?</a:t>
              </a:r>
            </a:p>
          </p:txBody>
        </p:sp>
        <p:sp>
          <p:nvSpPr>
            <p:cNvPr id="33" name="Arrow: Chevron 32">
              <a:extLst>
                <a:ext uri="{FF2B5EF4-FFF2-40B4-BE49-F238E27FC236}">
                  <a16:creationId xmlns:a16="http://schemas.microsoft.com/office/drawing/2014/main" id="{9AEA2FC7-A8E6-4075-910F-31D3BA36EF95}"/>
                </a:ext>
              </a:extLst>
            </p:cNvPr>
            <p:cNvSpPr/>
            <p:nvPr/>
          </p:nvSpPr>
          <p:spPr>
            <a:xfrm>
              <a:off x="2229388" y="4849455"/>
              <a:ext cx="243840" cy="313508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100">
                <a:solidFill>
                  <a:schemeClr val="tx1"/>
                </a:solidFill>
              </a:endParaRP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0EC7E153-4B2A-47AE-93ED-6A16B3656F99}"/>
              </a:ext>
            </a:extLst>
          </p:cNvPr>
          <p:cNvSpPr txBox="1"/>
          <p:nvPr/>
        </p:nvSpPr>
        <p:spPr>
          <a:xfrm>
            <a:off x="1158247" y="1653420"/>
            <a:ext cx="538678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00" dirty="0"/>
              <a:t>Forward-Looking Questions</a:t>
            </a:r>
            <a:endParaRPr lang="en-US" i="1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D11021-1022-4BFF-A696-A19DF5526E5F}"/>
              </a:ext>
            </a:extLst>
          </p:cNvPr>
          <p:cNvCxnSpPr>
            <a:cxnSpLocks/>
          </p:cNvCxnSpPr>
          <p:nvPr/>
        </p:nvCxnSpPr>
        <p:spPr>
          <a:xfrm>
            <a:off x="1207731" y="2104019"/>
            <a:ext cx="5095354" cy="1"/>
          </a:xfrm>
          <a:prstGeom prst="line">
            <a:avLst/>
          </a:prstGeom>
          <a:ln w="22225"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3E91F2-D670-EA02-DE6A-6654C2A5B6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</p:spPr>
        <p:txBody>
          <a:bodyPr/>
          <a:lstStyle/>
          <a:p>
            <a:r>
              <a:rPr lang="en-US"/>
              <a:t>2023 Envirothon / November 8th,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7077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267DC2-5FC8-6CEE-7774-A5CFCBB63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ill supply our base load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F2F72C-34EA-E39C-D131-4E27EED1E3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9E9DD-2DD5-62EE-C6FB-D8341A974F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2023 Envirothon / November 8th, 2023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00BD2D0-A9E6-82CE-A36F-9E5364F04F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82" y="2007494"/>
            <a:ext cx="4900454" cy="2756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5FC843C8-715E-7822-4F4E-04136CBF7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062" y="1789633"/>
            <a:ext cx="712931" cy="3192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6662FD0-5C26-1C64-1D90-1139EA95013B}"/>
              </a:ext>
            </a:extLst>
          </p:cNvPr>
          <p:cNvSpPr/>
          <p:nvPr/>
        </p:nvSpPr>
        <p:spPr>
          <a:xfrm>
            <a:off x="793743" y="5065523"/>
            <a:ext cx="3778257" cy="900270"/>
          </a:xfrm>
          <a:prstGeom prst="rect">
            <a:avLst/>
          </a:prstGeom>
          <a:solidFill>
            <a:schemeClr val="tx1"/>
          </a:solidFill>
          <a:ln>
            <a:solidFill>
              <a:srgbClr val="003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Wolf Creek Generating Station (1,200 MW Capacity)</a:t>
            </a:r>
            <a:endParaRPr lang="en-US" b="1" baseline="300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31DFFA-F83B-B238-8D02-4D4B111BEE86}"/>
              </a:ext>
            </a:extLst>
          </p:cNvPr>
          <p:cNvSpPr/>
          <p:nvPr/>
        </p:nvSpPr>
        <p:spPr>
          <a:xfrm>
            <a:off x="5157926" y="5065522"/>
            <a:ext cx="3895163" cy="900271"/>
          </a:xfrm>
          <a:prstGeom prst="rect">
            <a:avLst/>
          </a:prstGeom>
          <a:solidFill>
            <a:schemeClr val="tx1"/>
          </a:solidFill>
          <a:ln>
            <a:solidFill>
              <a:srgbClr val="003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BWRX-300 Small Modular Reactor “SMR”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(300 MW Capacity)</a:t>
            </a:r>
            <a:endParaRPr lang="en-US" b="1" baseline="3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3477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C7634-90F2-8F7B-11FF-F994550D5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How can we efficiently store solar and wind energy?</a:t>
            </a:r>
            <a:br>
              <a:rPr lang="en-US" sz="2800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E846E-A2C5-8C2D-43B7-34F524828F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112504-0E27-853C-02A0-854B979FFA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2023 Envirothon / November 8th, 2023</a:t>
            </a:r>
          </a:p>
        </p:txBody>
      </p:sp>
      <p:pic>
        <p:nvPicPr>
          <p:cNvPr id="3074" name="Picture 2" descr="Video of Megapack being installed">
            <a:extLst>
              <a:ext uri="{FF2B5EF4-FFF2-40B4-BE49-F238E27FC236}">
                <a16:creationId xmlns:a16="http://schemas.microsoft.com/office/drawing/2014/main" id="{173A1E34-1D25-7C01-7DC5-B5E4B36AB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697" y="2027437"/>
            <a:ext cx="4485000" cy="280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83033A2-1C91-08DB-5BB6-74E4F6481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342" y="1859872"/>
            <a:ext cx="3047450" cy="3138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094626D-3036-DDF9-A745-7F28305FFACF}"/>
              </a:ext>
            </a:extLst>
          </p:cNvPr>
          <p:cNvSpPr/>
          <p:nvPr/>
        </p:nvSpPr>
        <p:spPr>
          <a:xfrm>
            <a:off x="793743" y="5200848"/>
            <a:ext cx="3778257" cy="746736"/>
          </a:xfrm>
          <a:prstGeom prst="rect">
            <a:avLst/>
          </a:prstGeom>
          <a:solidFill>
            <a:schemeClr val="tx1"/>
          </a:solidFill>
          <a:ln>
            <a:solidFill>
              <a:srgbClr val="003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esla Megapack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(3 MWh per battery)</a:t>
            </a:r>
            <a:endParaRPr lang="en-US" b="1" baseline="300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FA650B-DFF6-E809-3287-582E9FC44444}"/>
              </a:ext>
            </a:extLst>
          </p:cNvPr>
          <p:cNvSpPr/>
          <p:nvPr/>
        </p:nvSpPr>
        <p:spPr>
          <a:xfrm>
            <a:off x="5047081" y="5202242"/>
            <a:ext cx="3778257" cy="746736"/>
          </a:xfrm>
          <a:prstGeom prst="rect">
            <a:avLst/>
          </a:prstGeom>
          <a:solidFill>
            <a:schemeClr val="tx1"/>
          </a:solidFill>
          <a:ln>
            <a:solidFill>
              <a:srgbClr val="0033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 Form Energy Iron-Air Battery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(100+ hour duration)</a:t>
            </a:r>
            <a:endParaRPr lang="en-US" b="1" baseline="3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1335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505E6F-1CFC-8E34-0AF1-C37A07CE6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C68C33-3F1C-0337-0DE6-62DFDC9612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ttps://www.scienceabc.com/pure-sciences/what-explain-photoelectric-effect-einstein-definition-exmaple-applications-threshold-frequency.html</a:t>
            </a:r>
          </a:p>
          <a:p>
            <a:r>
              <a:rPr lang="en-US" dirty="0"/>
              <a:t>BWRX-300: https://nuclear.gepower.com/bwrx-300</a:t>
            </a:r>
          </a:p>
          <a:p>
            <a:r>
              <a:rPr lang="en-US" dirty="0"/>
              <a:t>Tesla Megapack: https://www.tesla.com/megapack</a:t>
            </a:r>
          </a:p>
          <a:p>
            <a:r>
              <a:rPr lang="en-US" dirty="0"/>
              <a:t>Form Energy: https://formenergy.com/technology/battery-technology/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204D46-861A-804D-0A28-1427777D32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76FEC5-7A3C-1DDC-10BA-01C1B34D2D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2023 Envirothon / November 8th,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3895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37CBD3-3C0F-11C1-4EE7-4A2B0995A0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37CBD3-3C0F-11C1-4EE7-4A2B0995A0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5B6FE4-5BC5-CCE7-F5A9-9143C0CA97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85F7DD9-F9D9-ABE3-A3E4-9D19946962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Introductions</a:t>
            </a:r>
          </a:p>
          <a:p>
            <a:r>
              <a:rPr lang="en-US" sz="2400" dirty="0"/>
              <a:t>Emissions-Free Energy Options</a:t>
            </a:r>
          </a:p>
          <a:p>
            <a:r>
              <a:rPr lang="en-US" sz="2400" dirty="0"/>
              <a:t>Complications of Renewable Energy Options</a:t>
            </a:r>
          </a:p>
          <a:p>
            <a:r>
              <a:rPr lang="en-US" sz="2400" dirty="0"/>
              <a:t>Forward-Looking Questions for a Sustainable Future</a:t>
            </a:r>
          </a:p>
          <a:p>
            <a:r>
              <a:rPr lang="en-US" sz="2400" dirty="0"/>
              <a:t>Some Possibilities </a:t>
            </a:r>
            <a:r>
              <a:rPr lang="en-US" sz="2400"/>
              <a:t>in Development</a:t>
            </a:r>
            <a:endParaRPr lang="en-US" sz="2400" dirty="0"/>
          </a:p>
          <a:p>
            <a:pPr marL="0" indent="0">
              <a:buNone/>
            </a:pPr>
            <a:endParaRPr lang="en-US" sz="2100" dirty="0"/>
          </a:p>
          <a:p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58AE13-B2F1-C4AB-029B-6DA9ECE3DA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56766EB-9DE3-C075-6C2C-90403AB30D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</p:spPr>
        <p:txBody>
          <a:bodyPr/>
          <a:lstStyle/>
          <a:p>
            <a:r>
              <a:rPr lang="en-US" dirty="0"/>
              <a:t>2023 Envirothon / November 8th, 2023</a:t>
            </a:r>
          </a:p>
        </p:txBody>
      </p:sp>
    </p:spTree>
    <p:extLst>
      <p:ext uri="{BB962C8B-B14F-4D97-AF65-F5344CB8AC3E}">
        <p14:creationId xmlns:p14="http://schemas.microsoft.com/office/powerpoint/2010/main" val="19971624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A2E53-39AB-9CA6-DDF3-1F53D9C15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rgy Guiding Princip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BDB012-D899-9A1A-E844-CADBAE3BA6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1E636F-E531-39A2-A1FE-CDDECA6A21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2023 Envirothon / November 8th, 2023</a:t>
            </a:r>
          </a:p>
        </p:txBody>
      </p:sp>
      <p:pic>
        <p:nvPicPr>
          <p:cNvPr id="6" name="Picture 7" descr="Diagram&#10;&#10;Description automatically generated">
            <a:extLst>
              <a:ext uri="{FF2B5EF4-FFF2-40B4-BE49-F238E27FC236}">
                <a16:creationId xmlns:a16="http://schemas.microsoft.com/office/drawing/2014/main" id="{7E76E52A-E7A5-EE52-E5DC-F20E6CEB79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792" y="1283783"/>
            <a:ext cx="4229100" cy="4458903"/>
          </a:xfrm>
          <a:prstGeom prst="rect">
            <a:avLst/>
          </a:prstGeom>
        </p:spPr>
      </p:pic>
      <p:pic>
        <p:nvPicPr>
          <p:cNvPr id="8" name="Picture 7" descr="A picture containing sky, outdoor, person&#10;&#10;Description automatically generated">
            <a:extLst>
              <a:ext uri="{FF2B5EF4-FFF2-40B4-BE49-F238E27FC236}">
                <a16:creationId xmlns:a16="http://schemas.microsoft.com/office/drawing/2014/main" id="{BA45C40C-F570-229C-80BB-311A099484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986" r="13069"/>
          <a:stretch/>
        </p:blipFill>
        <p:spPr>
          <a:xfrm>
            <a:off x="4579783" y="1367647"/>
            <a:ext cx="4323425" cy="4122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8328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map&#10;&#10;Description automatically generated">
            <a:extLst>
              <a:ext uri="{FF2B5EF4-FFF2-40B4-BE49-F238E27FC236}">
                <a16:creationId xmlns:a16="http://schemas.microsoft.com/office/drawing/2014/main" id="{BF5068E4-D1B6-EF46-8FBE-FC8C6357F2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9496"/>
            <a:ext cx="9144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ACDAD47-A99F-1B4B-8DFB-8EC930E21C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bined Service Territor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2D12AB-56B1-4F1A-939C-852E60FE0F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</p:spPr>
        <p:txBody>
          <a:bodyPr/>
          <a:lstStyle/>
          <a:p>
            <a:r>
              <a:rPr lang="en-US" dirty="0"/>
              <a:t>2023 Envirothon / November 8th, 2023</a:t>
            </a:r>
          </a:p>
        </p:txBody>
      </p: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83B9757C-CB0D-CFCB-108F-AE874EC73F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8600" y="6276839"/>
            <a:ext cx="345385" cy="365125"/>
          </a:xfrm>
        </p:spPr>
        <p:txBody>
          <a:bodyPr/>
          <a:lstStyle/>
          <a:p>
            <a:fld id="{8B769522-718C-ED48-AC44-053BD883F66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9494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53E536-43C0-4578-A04A-0107E460C1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1" imgH="232" progId="TCLayout.ActiveDocument.1">
                  <p:embed/>
                </p:oleObj>
              </mc:Choice>
              <mc:Fallback>
                <p:oleObj name="think-cell Slide" r:id="rId5" imgW="231" imgH="23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53E536-43C0-4578-A04A-0107E460C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525D050-0971-4CC3-946C-D90F397013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CBF93-51A9-45CC-AE48-AD3956DAAC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076F89E2-E0DD-3B6F-4956-1FD6E23261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2023 Envirothon / November 8th, 202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940A7E-C953-5CE2-556C-6E03799E7536}"/>
              </a:ext>
            </a:extLst>
          </p:cNvPr>
          <p:cNvSpPr txBox="1"/>
          <p:nvPr/>
        </p:nvSpPr>
        <p:spPr>
          <a:xfrm>
            <a:off x="2658292" y="2070977"/>
            <a:ext cx="364453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350"/>
          </a:p>
        </p:txBody>
      </p:sp>
      <p:pic>
        <p:nvPicPr>
          <p:cNvPr id="3" name="Picture 2" descr="Graphical user interface, chart, application&#10;&#10;Description automatically generated">
            <a:extLst>
              <a:ext uri="{FF2B5EF4-FFF2-40B4-BE49-F238E27FC236}">
                <a16:creationId xmlns:a16="http://schemas.microsoft.com/office/drawing/2014/main" id="{180255E5-607A-204E-A62A-C5D8424FB3C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939" b="24109"/>
          <a:stretch/>
        </p:blipFill>
        <p:spPr>
          <a:xfrm>
            <a:off x="18678" y="1875094"/>
            <a:ext cx="6858000" cy="2723539"/>
          </a:xfrm>
          <a:prstGeom prst="rect">
            <a:avLst/>
          </a:prstGeom>
        </p:spPr>
      </p:pic>
      <p:sp>
        <p:nvSpPr>
          <p:cNvPr id="8" name="TextBox 108">
            <a:extLst>
              <a:ext uri="{FF2B5EF4-FFF2-40B4-BE49-F238E27FC236}">
                <a16:creationId xmlns:a16="http://schemas.microsoft.com/office/drawing/2014/main" id="{E3A9736B-E986-4DF4-A978-CDF5EBBDD70C}"/>
              </a:ext>
            </a:extLst>
          </p:cNvPr>
          <p:cNvSpPr txBox="1"/>
          <p:nvPr/>
        </p:nvSpPr>
        <p:spPr>
          <a:xfrm>
            <a:off x="7822723" y="2456150"/>
            <a:ext cx="1285139" cy="4154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38"/>
              </a:spcAft>
            </a:pPr>
            <a:r>
              <a:rPr lang="en-US" sz="1050" b="1" dirty="0"/>
              <a:t>2,290 MW of solar</a:t>
            </a:r>
          </a:p>
        </p:txBody>
      </p:sp>
      <p:sp>
        <p:nvSpPr>
          <p:cNvPr id="9" name="TextBox 109">
            <a:extLst>
              <a:ext uri="{FF2B5EF4-FFF2-40B4-BE49-F238E27FC236}">
                <a16:creationId xmlns:a16="http://schemas.microsoft.com/office/drawing/2014/main" id="{A51E8AC7-2CC6-436F-BA61-94C69BC0537D}"/>
              </a:ext>
            </a:extLst>
          </p:cNvPr>
          <p:cNvSpPr txBox="1"/>
          <p:nvPr/>
        </p:nvSpPr>
        <p:spPr>
          <a:xfrm>
            <a:off x="7793196" y="3243439"/>
            <a:ext cx="1266583" cy="4154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38"/>
              </a:spcAft>
            </a:pPr>
            <a:r>
              <a:rPr lang="en-US" sz="1050" b="1"/>
              <a:t>1,250 MW of wind</a:t>
            </a:r>
          </a:p>
        </p:txBody>
      </p:sp>
      <p:sp>
        <p:nvSpPr>
          <p:cNvPr id="11" name="TextBox 113">
            <a:extLst>
              <a:ext uri="{FF2B5EF4-FFF2-40B4-BE49-F238E27FC236}">
                <a16:creationId xmlns:a16="http://schemas.microsoft.com/office/drawing/2014/main" id="{F595D3A6-42A3-4C30-AF18-35B34BF3C21F}"/>
              </a:ext>
            </a:extLst>
          </p:cNvPr>
          <p:cNvSpPr txBox="1"/>
          <p:nvPr/>
        </p:nvSpPr>
        <p:spPr>
          <a:xfrm>
            <a:off x="7822540" y="3943540"/>
            <a:ext cx="1321460" cy="4154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38"/>
              </a:spcAft>
            </a:pPr>
            <a:r>
              <a:rPr lang="en-US" sz="1050" b="1" dirty="0"/>
              <a:t>1,905 MW of coal retiremen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03C99BD-41B5-4C56-9244-0494C7C135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90778" y="2190323"/>
            <a:ext cx="1057037" cy="7306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61C2B09-F715-47E3-94C9-E33A3ABEC8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94139" y="3778694"/>
            <a:ext cx="1057037" cy="7306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 descr="A picture containing windmill, outdoor object&#10;&#10;Description automatically generated">
            <a:extLst>
              <a:ext uri="{FF2B5EF4-FFF2-40B4-BE49-F238E27FC236}">
                <a16:creationId xmlns:a16="http://schemas.microsoft.com/office/drawing/2014/main" id="{63C146F0-BC92-4A3A-9A16-06FE7EC37C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94140" y="2914423"/>
            <a:ext cx="1164721" cy="8051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8D2896BF-A112-7FD9-3748-E1FC07B8AF54}"/>
              </a:ext>
            </a:extLst>
          </p:cNvPr>
          <p:cNvGrpSpPr/>
          <p:nvPr/>
        </p:nvGrpSpPr>
        <p:grpSpPr>
          <a:xfrm>
            <a:off x="6680610" y="2201522"/>
            <a:ext cx="196068" cy="2057400"/>
            <a:chOff x="7889401" y="2071011"/>
            <a:chExt cx="306172" cy="3885268"/>
          </a:xfrm>
          <a:effectLst/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E2645FB-5FF6-50A2-5763-0BB1DB60357A}"/>
                </a:ext>
              </a:extLst>
            </p:cNvPr>
            <p:cNvCxnSpPr/>
            <p:nvPr/>
          </p:nvCxnSpPr>
          <p:spPr>
            <a:xfrm>
              <a:off x="8043727" y="2071011"/>
              <a:ext cx="0" cy="3885268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98E5D16-B391-7127-28C6-DE31993A16CD}"/>
                </a:ext>
              </a:extLst>
            </p:cNvPr>
            <p:cNvGrpSpPr/>
            <p:nvPr/>
          </p:nvGrpSpPr>
          <p:grpSpPr>
            <a:xfrm>
              <a:off x="7889401" y="3860190"/>
              <a:ext cx="306172" cy="306910"/>
              <a:chOff x="8676183" y="3818459"/>
              <a:chExt cx="306172" cy="306910"/>
            </a:xfrm>
          </p:grpSpPr>
          <p:sp>
            <p:nvSpPr>
              <p:cNvPr id="24" name="Freeform 94">
                <a:extLst>
                  <a:ext uri="{FF2B5EF4-FFF2-40B4-BE49-F238E27FC236}">
                    <a16:creationId xmlns:a16="http://schemas.microsoft.com/office/drawing/2014/main" id="{8924EC25-67E4-176F-826E-E368D90DEE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76183" y="3818459"/>
                <a:ext cx="306172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solidFill>
                  <a:schemeClr val="accent4"/>
                </a:solidFill>
              </a:ln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>
                  <a:solidFill>
                    <a:srgbClr val="6E6F73"/>
                  </a:solidFill>
                </a:endParaRPr>
              </a:p>
            </p:txBody>
          </p:sp>
          <p:sp>
            <p:nvSpPr>
              <p:cNvPr id="25" name="Freeform 95">
                <a:extLst>
                  <a:ext uri="{FF2B5EF4-FFF2-40B4-BE49-F238E27FC236}">
                    <a16:creationId xmlns:a16="http://schemas.microsoft.com/office/drawing/2014/main" id="{0C15E29E-675A-4E1C-B2B6-19B035B0142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83947" y="3859550"/>
                <a:ext cx="120251" cy="224730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9861" tIns="24931" rIns="49861" bIns="2493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3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20" name="Title 3">
            <a:extLst>
              <a:ext uri="{FF2B5EF4-FFF2-40B4-BE49-F238E27FC236}">
                <a16:creationId xmlns:a16="http://schemas.microsoft.com/office/drawing/2014/main" id="{B8668015-62C5-314A-4669-126689F16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88" y="484188"/>
            <a:ext cx="7997825" cy="800100"/>
          </a:xfrm>
        </p:spPr>
        <p:txBody>
          <a:bodyPr/>
          <a:lstStyle/>
          <a:p>
            <a:r>
              <a:rPr lang="en-US" dirty="0"/>
              <a:t>Generation capacity by fuel type over time</a:t>
            </a:r>
          </a:p>
        </p:txBody>
      </p:sp>
    </p:spTree>
    <p:extLst>
      <p:ext uri="{BB962C8B-B14F-4D97-AF65-F5344CB8AC3E}">
        <p14:creationId xmlns:p14="http://schemas.microsoft.com/office/powerpoint/2010/main" val="2768007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38730FE-E475-0A96-05C7-F00A8F681F74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25520" b="24157"/>
          <a:stretch/>
        </p:blipFill>
        <p:spPr>
          <a:xfrm>
            <a:off x="0" y="3426577"/>
            <a:ext cx="9144000" cy="3451123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E43F064-01AB-4EF4-A3A4-B116342FC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85844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E43F064-01AB-4EF4-A3A4-B116342FC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3" y="85844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3BF1FBC-9930-4ED6-B7ED-4F6AE5C24F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896" y="454883"/>
            <a:ext cx="8015360" cy="406369"/>
          </a:xfrm>
        </p:spPr>
        <p:txBody>
          <a:bodyPr vert="horz"/>
          <a:lstStyle/>
          <a:p>
            <a:r>
              <a:rPr lang="en-US" sz="2800" dirty="0"/>
              <a:t>Air Impacts: Clean Energy Transi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AA1A7D-ADB7-473D-B6E1-0F7800E4C7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8" name="Rectangle 117" hidden="1">
            <a:extLst>
              <a:ext uri="{FF2B5EF4-FFF2-40B4-BE49-F238E27FC236}">
                <a16:creationId xmlns:a16="http://schemas.microsoft.com/office/drawing/2014/main" id="{3B1857B9-699B-4CB1-993A-A6B3CC9D39B0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138" name="Rectangle 137" hidden="1">
            <a:extLst>
              <a:ext uri="{FF2B5EF4-FFF2-40B4-BE49-F238E27FC236}">
                <a16:creationId xmlns:a16="http://schemas.microsoft.com/office/drawing/2014/main" id="{CCB57FA8-3282-4B47-AF2B-08F06359F9A8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372" name="TextBox 371">
            <a:extLst>
              <a:ext uri="{FF2B5EF4-FFF2-40B4-BE49-F238E27FC236}">
                <a16:creationId xmlns:a16="http://schemas.microsoft.com/office/drawing/2014/main" id="{5D67526D-77F9-41F1-9C55-B05B67E288E4}"/>
              </a:ext>
            </a:extLst>
          </p:cNvPr>
          <p:cNvSpPr txBox="1"/>
          <p:nvPr/>
        </p:nvSpPr>
        <p:spPr>
          <a:xfrm>
            <a:off x="945120" y="1115660"/>
            <a:ext cx="302393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b="1"/>
              <a:t>50% Carbon-Free Energy in 2020</a:t>
            </a: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BA4D76B-1560-465D-B418-55D385BD9B3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217533"/>
              </p:ext>
            </p:extLst>
          </p:nvPr>
        </p:nvGraphicFramePr>
        <p:xfrm>
          <a:off x="5459176" y="1425364"/>
          <a:ext cx="2471738" cy="226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77" name="Rectangle 576">
            <a:extLst>
              <a:ext uri="{FF2B5EF4-FFF2-40B4-BE49-F238E27FC236}">
                <a16:creationId xmlns:a16="http://schemas.microsoft.com/office/drawing/2014/main" id="{C16BF759-9CCD-43C3-B344-EDDAFA0B4A2F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373449" y="3686361"/>
            <a:ext cx="295275" cy="14406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41718BD-D7CA-46E1-967A-D51DF2226FEA}" type="datetime'''''''''''''''200''''''''''''''''''''5'">
              <a:rPr lang="en-US" altLang="en-US" sz="105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05</a:t>
            </a:fld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582" name="Rectangle 581">
            <a:extLst>
              <a:ext uri="{FF2B5EF4-FFF2-40B4-BE49-F238E27FC236}">
                <a16:creationId xmlns:a16="http://schemas.microsoft.com/office/drawing/2014/main" id="{20C1F080-D026-43AB-A8C3-129E924565B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6105686" y="3686361"/>
            <a:ext cx="295275" cy="14406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00822D7-71AA-45E8-BD48-B5D6F5131870}" type="datetime'''''''''''''''''''''''''''''20''''''''''''''1''''''0'''''''''">
              <a:rPr lang="en-US" altLang="en-US" sz="105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583" name="Rectangle 582">
            <a:extLst>
              <a:ext uri="{FF2B5EF4-FFF2-40B4-BE49-F238E27FC236}">
                <a16:creationId xmlns:a16="http://schemas.microsoft.com/office/drawing/2014/main" id="{C8A28646-96A5-4327-8646-552ABC04176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6837920" y="3686361"/>
            <a:ext cx="295275" cy="14406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925AB3-B2A7-4A75-BA9D-E06FE9760998}" type="datetime'2''''''''0''''''''''1''''''5'''''''''''''''''''''''''">
              <a:rPr lang="en-US" altLang="en-US" sz="105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584" name="Rectangle 583">
            <a:extLst>
              <a:ext uri="{FF2B5EF4-FFF2-40B4-BE49-F238E27FC236}">
                <a16:creationId xmlns:a16="http://schemas.microsoft.com/office/drawing/2014/main" id="{BAD84266-5904-4121-B8D7-D43E57372C64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7570154" y="3686361"/>
            <a:ext cx="295275" cy="14406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4D2018-9E23-486C-BE8B-7888427BB059}" type="datetime'2''''''''''''''''''''''''''''''''''''''''02''''''0'">
              <a:rPr lang="en-US" altLang="en-US" sz="105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4D5859-5A4E-4810-AD37-F2A67147B296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521089" y="1193192"/>
            <a:ext cx="2302669" cy="1833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>
                <a:solidFill>
                  <a:schemeClr val="tx1"/>
                </a:solidFill>
              </a:rPr>
              <a:t>51% CO</a:t>
            </a:r>
            <a:r>
              <a:rPr lang="en-US" altLang="en-US" sz="1200" b="1" baseline="-25000">
                <a:solidFill>
                  <a:schemeClr val="tx1"/>
                </a:solidFill>
              </a:rPr>
              <a:t>2 </a:t>
            </a:r>
            <a:r>
              <a:rPr lang="en-US" altLang="en-US" sz="1200" b="1">
                <a:solidFill>
                  <a:schemeClr val="tx1"/>
                </a:solidFill>
              </a:rPr>
              <a:t>Reductions since 2005</a:t>
            </a:r>
            <a:endParaRPr lang="en-US" sz="1200" b="1" baseline="-25000">
              <a:solidFill>
                <a:schemeClr val="tx1"/>
              </a:solidFill>
            </a:endParaRPr>
          </a:p>
        </p:txBody>
      </p:sp>
      <p:sp>
        <p:nvSpPr>
          <p:cNvPr id="681" name="Rectangle 680" hidden="1">
            <a:extLst>
              <a:ext uri="{FF2B5EF4-FFF2-40B4-BE49-F238E27FC236}">
                <a16:creationId xmlns:a16="http://schemas.microsoft.com/office/drawing/2014/main" id="{03ED4779-E330-490B-9F9C-DD8D4BF142DA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F846977-7F95-4111-AB94-26F9E72F919F}"/>
              </a:ext>
            </a:extLst>
          </p:cNvPr>
          <p:cNvGrpSpPr/>
          <p:nvPr/>
        </p:nvGrpSpPr>
        <p:grpSpPr>
          <a:xfrm>
            <a:off x="4431979" y="1038831"/>
            <a:ext cx="229628" cy="2743200"/>
            <a:chOff x="5058163" y="2071011"/>
            <a:chExt cx="306171" cy="3885268"/>
          </a:xfrm>
          <a:effectLst/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E2C85E7-EF5F-41F0-B294-DD51F5874584}"/>
                </a:ext>
              </a:extLst>
            </p:cNvPr>
            <p:cNvCxnSpPr/>
            <p:nvPr/>
          </p:nvCxnSpPr>
          <p:spPr>
            <a:xfrm>
              <a:off x="5225190" y="2071011"/>
              <a:ext cx="0" cy="3885268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68CB2756-C584-4C63-83D9-AFD9CCE9805C}"/>
                </a:ext>
              </a:extLst>
            </p:cNvPr>
            <p:cNvGrpSpPr/>
            <p:nvPr/>
          </p:nvGrpSpPr>
          <p:grpSpPr>
            <a:xfrm>
              <a:off x="5058163" y="3860190"/>
              <a:ext cx="306171" cy="306910"/>
              <a:chOff x="5844945" y="3818459"/>
              <a:chExt cx="306171" cy="306910"/>
            </a:xfrm>
          </p:grpSpPr>
          <p:sp>
            <p:nvSpPr>
              <p:cNvPr id="36" name="Freeform 94">
                <a:extLst>
                  <a:ext uri="{FF2B5EF4-FFF2-40B4-BE49-F238E27FC236}">
                    <a16:creationId xmlns:a16="http://schemas.microsoft.com/office/drawing/2014/main" id="{BF6B0327-2444-4834-A97B-15D544F912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44945" y="3818459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solidFill>
                  <a:schemeClr val="accent4"/>
                </a:solidFill>
              </a:ln>
            </p:spPr>
            <p:txBody>
              <a:bodyPr vert="horz" wrap="square" lIns="66481" tIns="33241" rIns="66481" bIns="332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6E6F73"/>
                  </a:solidFill>
                </a:endParaRPr>
              </a:p>
            </p:txBody>
          </p:sp>
          <p:sp>
            <p:nvSpPr>
              <p:cNvPr id="37" name="Freeform 95">
                <a:extLst>
                  <a:ext uri="{FF2B5EF4-FFF2-40B4-BE49-F238E27FC236}">
                    <a16:creationId xmlns:a16="http://schemas.microsoft.com/office/drawing/2014/main" id="{BD8D4A35-5777-45B9-9286-420641CC03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61376" y="3859549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6481" tIns="33241" rIns="66481" bIns="3324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rgbClr val="6E6F73"/>
                  </a:solidFill>
                </a:endParaRPr>
              </a:p>
            </p:txBody>
          </p:sp>
        </p:grpSp>
      </p:grp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2F0093EB-F720-49FC-BA3D-971A27950625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2532161"/>
              </p:ext>
            </p:extLst>
          </p:nvPr>
        </p:nvGraphicFramePr>
        <p:xfrm>
          <a:off x="1511064" y="1425364"/>
          <a:ext cx="2288381" cy="226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58" name="Rectangle 57">
            <a:extLst>
              <a:ext uri="{FF2B5EF4-FFF2-40B4-BE49-F238E27FC236}">
                <a16:creationId xmlns:a16="http://schemas.microsoft.com/office/drawing/2014/main" id="{D05F1C7A-86CC-48F3-B187-B3F41FAFCCFF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1600361" y="2680283"/>
            <a:ext cx="263129" cy="164306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1431" tIns="0" rIns="21431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106D090-A989-4E1D-AFA1-3A7596821587}" type="datetime'''''1''''''''''''''''''%'''''''''''''''''">
              <a:rPr lang="en-US" altLang="en-US" sz="1200" b="1">
                <a:solidFill>
                  <a:schemeClr val="bg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%</a:t>
            </a:fld>
            <a:endParaRPr lang="en-US" sz="1200" b="1">
              <a:solidFill>
                <a:schemeClr val="bg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AE52011-535C-44BE-946F-B1134F33A8D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406539" y="3344653"/>
            <a:ext cx="347663" cy="1595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050">
                <a:solidFill>
                  <a:schemeClr val="accent1"/>
                </a:solidFill>
              </a:rPr>
              <a:t>Fossil</a:t>
            </a:r>
            <a:endParaRPr lang="en-US" sz="1050">
              <a:solidFill>
                <a:schemeClr val="accent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C333309-138C-4C38-A814-35771AD1C5CB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75255" y="2665997"/>
            <a:ext cx="767954" cy="319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FE7E481-7F8A-40F9-B8D6-70EDC0521FAA}" type="datetime'''''O''''''t''''he''r''''&#10;Re''n''ewa''b''l''''e''s'">
              <a:rPr lang="en-US" altLang="en-US" sz="1050" b="1">
                <a:solidFill>
                  <a:schemeClr val="accent3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Other
Renewables</a:t>
            </a:fld>
            <a:endParaRPr lang="en-US" sz="1050" b="1">
              <a:solidFill>
                <a:schemeClr val="accent3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5FEFA7C-F4CF-4736-83CA-D6354F491B5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497967" y="3429187"/>
            <a:ext cx="488156" cy="1595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0E33B9C-B186-4608-B34D-2B07AF04ADA6}" type="datetime'''''N''''''''''''''u''''''''cl''''''''''''e''''''''''a''''''r'">
              <a:rPr lang="en-US" altLang="en-US" sz="1050" b="1">
                <a:solidFill>
                  <a:schemeClr val="tx2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Nuclear</a:t>
            </a:fld>
            <a:endParaRPr lang="en-US" sz="1050" b="1">
              <a:solidFill>
                <a:schemeClr val="tx2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786D466-39DB-489B-9FBB-E113001B4F5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464628" y="1712305"/>
            <a:ext cx="323850" cy="15954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00D53FD-1198-4A34-B41E-2856BAFD7CA8}" type="datetime'''''''''W''''''i''n''''''d'''''''''''''''''''''''''''''''''''">
              <a:rPr lang="en-US" altLang="en-US" sz="1050" b="1">
                <a:solidFill>
                  <a:schemeClr val="accent4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Wind</a:t>
            </a:fld>
            <a:endParaRPr lang="en-US" sz="1050" b="1">
              <a:solidFill>
                <a:schemeClr val="accent4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2B5EBA3-0092-4765-A44A-1FE71FA5A305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306399" y="2399297"/>
            <a:ext cx="676275" cy="319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50">
                <a:solidFill>
                  <a:schemeClr val="tx1"/>
                </a:solidFill>
              </a:rPr>
              <a:t>2020 </a:t>
            </a:r>
            <a:br>
              <a:rPr lang="en-US" sz="1050">
                <a:solidFill>
                  <a:schemeClr val="tx1"/>
                </a:solidFill>
              </a:rPr>
            </a:br>
            <a:r>
              <a:rPr lang="en-US" sz="1050">
                <a:solidFill>
                  <a:schemeClr val="tx1"/>
                </a:solidFill>
              </a:rPr>
              <a:t>Energy Mix</a:t>
            </a:r>
          </a:p>
        </p:txBody>
      </p:sp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CE38E0D-8104-4E18-9C3C-8DBD1D0FAE3A}"/>
              </a:ext>
            </a:extLst>
          </p:cNvPr>
          <p:cNvSpPr/>
          <p:nvPr/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50">
              <a:latin typeface="Arial" panose="020B0604020202020204" pitchFamily="34" charset="0"/>
            </a:endParaRPr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4A80E17F-8EBA-467D-9FD6-5C96D8BDFA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26857" y="6285675"/>
            <a:ext cx="5124858" cy="365125"/>
          </a:xfrm>
        </p:spPr>
        <p:txBody>
          <a:bodyPr/>
          <a:lstStyle/>
          <a:p>
            <a:r>
              <a:rPr lang="en-US" dirty="0"/>
              <a:t>2023 Envirothon / November 8th, 2023</a:t>
            </a:r>
          </a:p>
        </p:txBody>
      </p:sp>
    </p:spTree>
    <p:extLst>
      <p:ext uri="{BB962C8B-B14F-4D97-AF65-F5344CB8AC3E}">
        <p14:creationId xmlns:p14="http://schemas.microsoft.com/office/powerpoint/2010/main" val="42327319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D9ED1-4801-6290-DA23-F863BABEB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E586B3-8461-89F8-0F84-F2E19B5ADA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F6C672-7980-E071-4D67-872C3A6E0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2023 Envirothon / November 8th, 2023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F0C1AE-C608-5714-A038-B401F8320CF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43000" y="1628775"/>
            <a:ext cx="6858000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3240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D9ED1-4801-6290-DA23-F863BABEB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ind </a:t>
            </a:r>
            <a:r>
              <a:rPr lang="en-US" dirty="0" err="1"/>
              <a:t>v.s</a:t>
            </a:r>
            <a:r>
              <a:rPr lang="en-US" dirty="0"/>
              <a:t>. Load Deman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E586B3-8461-89F8-0F84-F2E19B5ADA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F6C672-7980-E071-4D67-872C3A6E0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2023 Envirothon / November 8th, 2023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F0C1AE-C608-5714-A038-B401F8320CF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99747" y="2325469"/>
            <a:ext cx="8744505" cy="2207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824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4D9ED1-4801-6290-DA23-F863BABEB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ar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E586B3-8461-89F8-0F84-F2E19B5ADA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B769522-718C-ED48-AC44-053BD883F66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F6C672-7980-E071-4D67-872C3A6E0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2023 Envirothon / November 8th, 2023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F0C1AE-C608-5714-A038-B401F8320CF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55140" y="1339298"/>
            <a:ext cx="7433720" cy="4179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2667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otd3AwPHZHpOvM_2V4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HgIixCS4vBVAe_C9T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5zs4u4QN9Rs3peGePa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DNmfMJetJnnEEVJkN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gyB_sJCrrUIjSG1MYh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wt3hye.dBtcp1wzLhQ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tjXpmgg7Bmg1jZI7LG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4e4Liflx3bluA2tJtv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9Rcbd_V7lTxOeQm7C.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E.hhVNB.JXvvEBFFAK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5Wwm7bDCyJoevS03Mk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mRJINNN0V3GrGbjiMt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GYHNL2KgrJ_JLRgL7Z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X_hbfsNnSOgnkuQb4LRw"/>
</p:tagLst>
</file>

<file path=ppt/theme/theme1.xml><?xml version="1.0" encoding="utf-8"?>
<a:theme xmlns:a="http://schemas.openxmlformats.org/drawingml/2006/main" name="Office Theme">
  <a:themeElements>
    <a:clrScheme name="Evergy 1">
      <a:dk1>
        <a:srgbClr val="FFFFFF"/>
      </a:dk1>
      <a:lt1>
        <a:srgbClr val="003353"/>
      </a:lt1>
      <a:dk2>
        <a:srgbClr val="004E9A"/>
      </a:dk2>
      <a:lt2>
        <a:srgbClr val="307CBA"/>
      </a:lt2>
      <a:accent1>
        <a:srgbClr val="ACB1BA"/>
      </a:accent1>
      <a:accent2>
        <a:srgbClr val="71808A"/>
      </a:accent2>
      <a:accent3>
        <a:srgbClr val="95C940"/>
      </a:accent3>
      <a:accent4>
        <a:srgbClr val="76BB30"/>
      </a:accent4>
      <a:accent5>
        <a:srgbClr val="F78D30"/>
      </a:accent5>
      <a:accent6>
        <a:srgbClr val="E8712C"/>
      </a:accent6>
      <a:hlink>
        <a:srgbClr val="307CC0"/>
      </a:hlink>
      <a:folHlink>
        <a:srgbClr val="004E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4eebb88-c1c5-4083-adee-80a581a10457">
      <UserInfo>
        <DisplayName>Sarah Hoffman</DisplayName>
        <AccountId>2703</AccountId>
        <AccountType/>
      </UserInfo>
      <UserInfo>
        <DisplayName>Bradley Carlson</DisplayName>
        <AccountId>3325</AccountId>
        <AccountType/>
      </UserInfo>
      <UserInfo>
        <DisplayName>Laura Fischer</DisplayName>
        <AccountId>2123</AccountId>
        <AccountType/>
      </UserInfo>
      <UserInfo>
        <DisplayName>Marsha Evans</DisplayName>
        <AccountId>2575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5C43BC36E8E254BBBDADF210AB46678" ma:contentTypeVersion="6" ma:contentTypeDescription="Create a new document." ma:contentTypeScope="" ma:versionID="f72b1d678ec3401468151c8e0440828c">
  <xsd:schema xmlns:xsd="http://www.w3.org/2001/XMLSchema" xmlns:xs="http://www.w3.org/2001/XMLSchema" xmlns:p="http://schemas.microsoft.com/office/2006/metadata/properties" xmlns:ns2="18ecbfb9-c838-4d60-8937-ce9a7b1f5605" xmlns:ns3="54eebb88-c1c5-4083-adee-80a581a10457" targetNamespace="http://schemas.microsoft.com/office/2006/metadata/properties" ma:root="true" ma:fieldsID="b16c72914bba1c7d8a893e05c0b28ec7" ns2:_="" ns3:_="">
    <xsd:import namespace="18ecbfb9-c838-4d60-8937-ce9a7b1f5605"/>
    <xsd:import namespace="54eebb88-c1c5-4083-adee-80a581a1045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ecbfb9-c838-4d60-8937-ce9a7b1f56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eebb88-c1c5-4083-adee-80a581a1045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D8DD083-4CE5-450F-BE92-2AD8B39AB196}">
  <ds:schemaRefs>
    <ds:schemaRef ds:uri="18ecbfb9-c838-4d60-8937-ce9a7b1f5605"/>
    <ds:schemaRef ds:uri="54eebb88-c1c5-4083-adee-80a581a1045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871A863-2813-43DE-B1FE-BBA3B32CC2D4}">
  <ds:schemaRefs>
    <ds:schemaRef ds:uri="18ecbfb9-c838-4d60-8937-ce9a7b1f5605"/>
    <ds:schemaRef ds:uri="54eebb88-c1c5-4083-adee-80a581a104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21A45E0-32BB-470C-BEF8-76681113D04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9818</TotalTime>
  <Words>393</Words>
  <Application>Microsoft Office PowerPoint</Application>
  <PresentationFormat>On-screen Show (4:3)</PresentationFormat>
  <Paragraphs>89</Paragraphs>
  <Slides>1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Office Theme</vt:lpstr>
      <vt:lpstr>think-cell Slide</vt:lpstr>
      <vt:lpstr>Renewable Energy for a Sustainable Future</vt:lpstr>
      <vt:lpstr>Agenda </vt:lpstr>
      <vt:lpstr>Evergy Guiding Principles</vt:lpstr>
      <vt:lpstr>Combined Service Territory</vt:lpstr>
      <vt:lpstr>Generation capacity by fuel type over time</vt:lpstr>
      <vt:lpstr>Air Impacts: Clean Energy Transition</vt:lpstr>
      <vt:lpstr>Wind Development</vt:lpstr>
      <vt:lpstr>Wind v.s. Load Demand</vt:lpstr>
      <vt:lpstr>Solar Development</vt:lpstr>
      <vt:lpstr>Photoelectric Effect</vt:lpstr>
      <vt:lpstr>Solar Generation Profile</vt:lpstr>
      <vt:lpstr>For a Sustainable Future</vt:lpstr>
      <vt:lpstr>What will supply our base load?</vt:lpstr>
      <vt:lpstr>How can we efficiently store solar and wind energy? </vt:lpstr>
      <vt:lpstr>Reference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ergy PowerPoint Template (Standard)</dc:title>
  <dc:creator>Heather Davis</dc:creator>
  <cp:lastModifiedBy>Kevin McGinnis</cp:lastModifiedBy>
  <cp:revision>12</cp:revision>
  <dcterms:created xsi:type="dcterms:W3CDTF">2018-04-18T19:58:15Z</dcterms:created>
  <dcterms:modified xsi:type="dcterms:W3CDTF">2023-11-03T19:3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C43BC36E8E254BBBDADF210AB46678</vt:lpwstr>
  </property>
  <property fmtid="{D5CDD505-2E9C-101B-9397-08002B2CF9AE}" pid="3" name="IntrDepartment">
    <vt:lpwstr>11;#Marketing and Public Affairs|a3d5c49e-0e0b-4155-aeb9-405d16790562</vt:lpwstr>
  </property>
  <property fmtid="{D5CDD505-2E9C-101B-9397-08002B2CF9AE}" pid="4" name="IntrDocType">
    <vt:lpwstr>46;#Template|1a56193f-c38e-4b6e-8ab5-de970368a73c</vt:lpwstr>
  </property>
  <property fmtid="{D5CDD505-2E9C-101B-9397-08002B2CF9AE}" pid="5" name="IntrTags">
    <vt:lpwstr>67;#Brand|9c7564b9-1775-4353-847c-59ba320ad746;#72;#Marketing|d42c61d7-ac77-4564-a17a-56799342aff7</vt:lpwstr>
  </property>
  <property fmtid="{D5CDD505-2E9C-101B-9397-08002B2CF9AE}" pid="6" name="SharedWithUsers">
    <vt:lpwstr>2703;#Sarah Hoffman;#3325;#Bradley Carlson;#2123;#Laura Fischer;#2575;#Marsha Evans</vt:lpwstr>
  </property>
  <property fmtid="{D5CDD505-2E9C-101B-9397-08002B2CF9AE}" pid="7" name="MSIP_Label_d275ac46-98b9-4d64-949f-e82ee8dc823c_Enabled">
    <vt:lpwstr>true</vt:lpwstr>
  </property>
  <property fmtid="{D5CDD505-2E9C-101B-9397-08002B2CF9AE}" pid="8" name="MSIP_Label_d275ac46-98b9-4d64-949f-e82ee8dc823c_SetDate">
    <vt:lpwstr>2022-06-17T21:09:44Z</vt:lpwstr>
  </property>
  <property fmtid="{D5CDD505-2E9C-101B-9397-08002B2CF9AE}" pid="9" name="MSIP_Label_d275ac46-98b9-4d64-949f-e82ee8dc823c_Method">
    <vt:lpwstr>Standard</vt:lpwstr>
  </property>
  <property fmtid="{D5CDD505-2E9C-101B-9397-08002B2CF9AE}" pid="10" name="MSIP_Label_d275ac46-98b9-4d64-949f-e82ee8dc823c_Name">
    <vt:lpwstr>d275ac46-98b9-4d64-949f-e82ee8dc823c</vt:lpwstr>
  </property>
  <property fmtid="{D5CDD505-2E9C-101B-9397-08002B2CF9AE}" pid="11" name="MSIP_Label_d275ac46-98b9-4d64-949f-e82ee8dc823c_SiteId">
    <vt:lpwstr>9ef58ab0-3510-4d99-8d3e-3c9e02ebab7f</vt:lpwstr>
  </property>
  <property fmtid="{D5CDD505-2E9C-101B-9397-08002B2CF9AE}" pid="12" name="MSIP_Label_d275ac46-98b9-4d64-949f-e82ee8dc823c_ActionId">
    <vt:lpwstr>a76e9c00-6c8b-47cd-8fe1-b9c8dd99737c</vt:lpwstr>
  </property>
  <property fmtid="{D5CDD505-2E9C-101B-9397-08002B2CF9AE}" pid="13" name="MSIP_Label_d275ac46-98b9-4d64-949f-e82ee8dc823c_ContentBits">
    <vt:lpwstr>3</vt:lpwstr>
  </property>
</Properties>
</file>